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A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80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8C90BC-6D9B-43B9-BF99-347352171C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65B276-1431-4DF2-82D6-2A63279CCF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AF21E6-9F61-44E8-84C5-E2289B6DFF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75130-29C3-4497-9EEC-FC938CF5995A}" type="datetimeFigureOut">
              <a:rPr lang="en-US" smtClean="0"/>
              <a:t>9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547F3F-F210-4320-A195-B1EB3C74B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7940AE-35FD-4FCC-996A-3B848DA75A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BE568-9283-478C-896F-43D2EAC428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1512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862835-E0D7-45E6-B5C4-3E01E75B2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1A9A913-6DFB-49D3-8968-7CFD212B63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75B66B-853B-41BD-82D0-EDF5BB86B9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75130-29C3-4497-9EEC-FC938CF5995A}" type="datetimeFigureOut">
              <a:rPr lang="en-US" smtClean="0"/>
              <a:t>9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50BDF2-D86F-4784-9C14-650047235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3ED6DD-F313-4CC2-8BD1-04A41F717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BE568-9283-478C-896F-43D2EAC428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3798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5DFE17-A0D1-4B11-9B9E-05526D84AB5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11D5A98-B871-42C5-9EDB-94B1F87668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95E627-6929-4761-8991-B22CFD15E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75130-29C3-4497-9EEC-FC938CF5995A}" type="datetimeFigureOut">
              <a:rPr lang="en-US" smtClean="0"/>
              <a:t>9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A071E5-D78D-4474-B914-36C2BBA41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76E72E-85E2-49BE-A635-2B2C053DCC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BE568-9283-478C-896F-43D2EAC428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1651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8CB576-4333-40AD-B1F9-750BDE47DE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D25D59-56D8-4362-B646-3F44C2C2E1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0F7FE7-7BE3-4A08-A9D7-74AFC5814D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75130-29C3-4497-9EEC-FC938CF5995A}" type="datetimeFigureOut">
              <a:rPr lang="en-US" smtClean="0"/>
              <a:t>9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0640F9-030F-4635-AD6C-0FBE541A6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708CB9-AE2F-4846-9293-DDE5D8517D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BE568-9283-478C-896F-43D2EAC428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5864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575302-AE7A-49DC-8FEB-EC9FFECA7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190A8A-7885-427F-9163-CA3DC98E01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B08471-77D2-47C2-81EF-9497B98B2D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75130-29C3-4497-9EEC-FC938CF5995A}" type="datetimeFigureOut">
              <a:rPr lang="en-US" smtClean="0"/>
              <a:t>9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3361E0-CF43-4187-AD51-DB573F138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FB1EC7-BAFD-4F4E-A6AC-FBBF470AAB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BE568-9283-478C-896F-43D2EAC428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0090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5EC143-0635-4058-8A59-3854E23E9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6F98B9-B2A1-4543-A873-3970AC062E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55BB06-C4FE-4CBC-A9A5-1030D88142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11B056-2B27-4A0A-BE2B-9D41E4E090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75130-29C3-4497-9EEC-FC938CF5995A}" type="datetimeFigureOut">
              <a:rPr lang="en-US" smtClean="0"/>
              <a:t>9/1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C7AD76-3B4E-4EDF-A9EF-EBF45A065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F9E8D6-57B3-48FF-A4D5-9F9443AAB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BE568-9283-478C-896F-43D2EAC428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0995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3C3571-631F-4798-9C85-EC73C9D0C8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93C1CB-BDA8-48C9-BD1E-0178B38872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DAC3E4-79DB-4F1A-9949-C922A6C4C4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5FCE39-7692-484C-B891-B25694DD5A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9F48765-913C-47BB-B9D1-D801B8586C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1754D16-9475-4C01-846A-9F64AA79E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75130-29C3-4497-9EEC-FC938CF5995A}" type="datetimeFigureOut">
              <a:rPr lang="en-US" smtClean="0"/>
              <a:t>9/11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F6F35A4-3094-42A0-B5C4-4F3173C9F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818B559-746A-47AA-AD03-13E032F9E9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BE568-9283-478C-896F-43D2EAC428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0283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6EFFF5-A56F-4317-A4C9-127387656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136A9C-A0F5-4BA5-B809-FA2361538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75130-29C3-4497-9EEC-FC938CF5995A}" type="datetimeFigureOut">
              <a:rPr lang="en-US" smtClean="0"/>
              <a:t>9/1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D3B4406-141B-445E-B4D8-398E25910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75BC2D-8692-4EAC-906E-E6CA80B3B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BE568-9283-478C-896F-43D2EAC428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0615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DD8E59E-85A0-433B-B568-637A8F759E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75130-29C3-4497-9EEC-FC938CF5995A}" type="datetimeFigureOut">
              <a:rPr lang="en-US" smtClean="0"/>
              <a:t>9/11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36AA88-D6A7-4E1B-BA71-6B32E2DB4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82AC1A-E889-4A3B-8E53-70C55AA3FC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BE568-9283-478C-896F-43D2EAC428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72196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B47583-89D4-4954-8B04-7EC8B9C7C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398EF4-6547-4185-8130-B54E76AEC1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A01BEC-EC63-4CFC-8AA2-C83AC8933E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73AFB6-65EC-426A-AE6C-9A67EFB4F6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75130-29C3-4497-9EEC-FC938CF5995A}" type="datetimeFigureOut">
              <a:rPr lang="en-US" smtClean="0"/>
              <a:t>9/1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DC174E-4632-4487-BD53-31D71BD853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9D15DE-E47F-40BF-B780-E7A2DB215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BE568-9283-478C-896F-43D2EAC428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1214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4B35D0-ACAF-4413-8AAE-186720156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FF78926-EF1B-4345-933B-9E67962F119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059084-8040-4384-89E1-89C4451C2C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779E65-0830-40DC-A561-4F71136903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175130-29C3-4497-9EEC-FC938CF5995A}" type="datetimeFigureOut">
              <a:rPr lang="en-US" smtClean="0"/>
              <a:t>9/1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30FEA8-A1F6-492C-ACF0-906D529422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1CF580-4041-400B-AFB1-25C614F1D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BE568-9283-478C-896F-43D2EAC428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7261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A16737-F7D5-463B-9208-A2A687DEB1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47287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D112418-0B12-4757-8208-BD2172B1A2E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C123BC4-7C9E-4DBA-B102-F135A2263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399D25-EF7F-4DE2-92CA-29584EDE7E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0CD315-3552-4894-91AE-0F8F15E32A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175130-29C3-4497-9EEC-FC938CF5995A}" type="datetimeFigureOut">
              <a:rPr lang="en-US" smtClean="0"/>
              <a:t>9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129DA2-6C1D-440F-AF8A-0320B740EE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E07FD9-2EEF-40B8-B074-F903CAAD39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FBE568-9283-478C-896F-43D2EAC42883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MSIPCMContentMarking" descr="{&quot;HashCode&quot;:2482325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87036F6C-D9A3-4933-A3C4-422F3330797F}"/>
              </a:ext>
            </a:extLst>
          </p:cNvPr>
          <p:cNvSpPr txBox="1"/>
          <p:nvPr userDrawn="1"/>
        </p:nvSpPr>
        <p:spPr>
          <a:xfrm>
            <a:off x="0" y="6595656"/>
            <a:ext cx="133983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cation: Public</a:t>
            </a:r>
          </a:p>
        </p:txBody>
      </p:sp>
    </p:spTree>
    <p:extLst>
      <p:ext uri="{BB962C8B-B14F-4D97-AF65-F5344CB8AC3E}">
        <p14:creationId xmlns:p14="http://schemas.microsoft.com/office/powerpoint/2010/main" val="1642565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0DB3C74-5A67-4851-898D-C088A16F93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7675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EE25C88B-43B5-4019-BA16-55E91679EBB2}"/>
              </a:ext>
            </a:extLst>
          </p:cNvPr>
          <p:cNvSpPr/>
          <p:nvPr/>
        </p:nvSpPr>
        <p:spPr>
          <a:xfrm>
            <a:off x="1076960" y="1433763"/>
            <a:ext cx="7075082" cy="4133917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945C3C1-802A-48B6-8678-4C339AC4C4DA}"/>
              </a:ext>
            </a:extLst>
          </p:cNvPr>
          <p:cNvSpPr/>
          <p:nvPr/>
        </p:nvSpPr>
        <p:spPr>
          <a:xfrm>
            <a:off x="304800" y="528320"/>
            <a:ext cx="8046720" cy="2407920"/>
          </a:xfrm>
          <a:custGeom>
            <a:avLst/>
            <a:gdLst>
              <a:gd name="connsiteX0" fmla="*/ 2123440 w 6543040"/>
              <a:gd name="connsiteY0" fmla="*/ 1341120 h 2438400"/>
              <a:gd name="connsiteX1" fmla="*/ 1981200 w 6543040"/>
              <a:gd name="connsiteY1" fmla="*/ 1371600 h 2438400"/>
              <a:gd name="connsiteX2" fmla="*/ 1950720 w 6543040"/>
              <a:gd name="connsiteY2" fmla="*/ 1381760 h 2438400"/>
              <a:gd name="connsiteX3" fmla="*/ 1930400 w 6543040"/>
              <a:gd name="connsiteY3" fmla="*/ 1412240 h 2438400"/>
              <a:gd name="connsiteX4" fmla="*/ 1899920 w 6543040"/>
              <a:gd name="connsiteY4" fmla="*/ 1432560 h 2438400"/>
              <a:gd name="connsiteX5" fmla="*/ 1798320 w 6543040"/>
              <a:gd name="connsiteY5" fmla="*/ 1463040 h 2438400"/>
              <a:gd name="connsiteX6" fmla="*/ 1778000 w 6543040"/>
              <a:gd name="connsiteY6" fmla="*/ 1493520 h 2438400"/>
              <a:gd name="connsiteX7" fmla="*/ 1747520 w 6543040"/>
              <a:gd name="connsiteY7" fmla="*/ 1513840 h 2438400"/>
              <a:gd name="connsiteX8" fmla="*/ 1737360 w 6543040"/>
              <a:gd name="connsiteY8" fmla="*/ 1544320 h 2438400"/>
              <a:gd name="connsiteX9" fmla="*/ 1686560 w 6543040"/>
              <a:gd name="connsiteY9" fmla="*/ 1595120 h 2438400"/>
              <a:gd name="connsiteX10" fmla="*/ 1666240 w 6543040"/>
              <a:gd name="connsiteY10" fmla="*/ 1625600 h 2438400"/>
              <a:gd name="connsiteX11" fmla="*/ 1645920 w 6543040"/>
              <a:gd name="connsiteY11" fmla="*/ 1686560 h 2438400"/>
              <a:gd name="connsiteX12" fmla="*/ 1615440 w 6543040"/>
              <a:gd name="connsiteY12" fmla="*/ 1706880 h 2438400"/>
              <a:gd name="connsiteX13" fmla="*/ 1595120 w 6543040"/>
              <a:gd name="connsiteY13" fmla="*/ 1747520 h 2438400"/>
              <a:gd name="connsiteX14" fmla="*/ 1584960 w 6543040"/>
              <a:gd name="connsiteY14" fmla="*/ 1778000 h 2438400"/>
              <a:gd name="connsiteX15" fmla="*/ 1564640 w 6543040"/>
              <a:gd name="connsiteY15" fmla="*/ 1808480 h 2438400"/>
              <a:gd name="connsiteX16" fmla="*/ 1554480 w 6543040"/>
              <a:gd name="connsiteY16" fmla="*/ 1849120 h 2438400"/>
              <a:gd name="connsiteX17" fmla="*/ 1524000 w 6543040"/>
              <a:gd name="connsiteY17" fmla="*/ 1869440 h 2438400"/>
              <a:gd name="connsiteX18" fmla="*/ 1503680 w 6543040"/>
              <a:gd name="connsiteY18" fmla="*/ 1930400 h 2438400"/>
              <a:gd name="connsiteX19" fmla="*/ 1493520 w 6543040"/>
              <a:gd name="connsiteY19" fmla="*/ 1960880 h 2438400"/>
              <a:gd name="connsiteX20" fmla="*/ 1442720 w 6543040"/>
              <a:gd name="connsiteY20" fmla="*/ 2032000 h 2438400"/>
              <a:gd name="connsiteX21" fmla="*/ 1412240 w 6543040"/>
              <a:gd name="connsiteY21" fmla="*/ 2092960 h 2438400"/>
              <a:gd name="connsiteX22" fmla="*/ 1402080 w 6543040"/>
              <a:gd name="connsiteY22" fmla="*/ 2123440 h 2438400"/>
              <a:gd name="connsiteX23" fmla="*/ 1371600 w 6543040"/>
              <a:gd name="connsiteY23" fmla="*/ 2133600 h 2438400"/>
              <a:gd name="connsiteX24" fmla="*/ 1351280 w 6543040"/>
              <a:gd name="connsiteY24" fmla="*/ 2174240 h 2438400"/>
              <a:gd name="connsiteX25" fmla="*/ 1310640 w 6543040"/>
              <a:gd name="connsiteY25" fmla="*/ 2235200 h 2438400"/>
              <a:gd name="connsiteX26" fmla="*/ 1300480 w 6543040"/>
              <a:gd name="connsiteY26" fmla="*/ 2265680 h 2438400"/>
              <a:gd name="connsiteX27" fmla="*/ 1259840 w 6543040"/>
              <a:gd name="connsiteY27" fmla="*/ 2296160 h 2438400"/>
              <a:gd name="connsiteX28" fmla="*/ 1229360 w 6543040"/>
              <a:gd name="connsiteY28" fmla="*/ 2326640 h 2438400"/>
              <a:gd name="connsiteX29" fmla="*/ 1168400 w 6543040"/>
              <a:gd name="connsiteY29" fmla="*/ 2357120 h 2438400"/>
              <a:gd name="connsiteX30" fmla="*/ 1148080 w 6543040"/>
              <a:gd name="connsiteY30" fmla="*/ 2387600 h 2438400"/>
              <a:gd name="connsiteX31" fmla="*/ 1066800 w 6543040"/>
              <a:gd name="connsiteY31" fmla="*/ 2407920 h 2438400"/>
              <a:gd name="connsiteX32" fmla="*/ 965200 w 6543040"/>
              <a:gd name="connsiteY32" fmla="*/ 2428240 h 2438400"/>
              <a:gd name="connsiteX33" fmla="*/ 863600 w 6543040"/>
              <a:gd name="connsiteY33" fmla="*/ 2438400 h 2438400"/>
              <a:gd name="connsiteX34" fmla="*/ 406400 w 6543040"/>
              <a:gd name="connsiteY34" fmla="*/ 2428240 h 2438400"/>
              <a:gd name="connsiteX35" fmla="*/ 345440 w 6543040"/>
              <a:gd name="connsiteY35" fmla="*/ 2418080 h 2438400"/>
              <a:gd name="connsiteX36" fmla="*/ 314960 w 6543040"/>
              <a:gd name="connsiteY36" fmla="*/ 2397760 h 2438400"/>
              <a:gd name="connsiteX37" fmla="*/ 284480 w 6543040"/>
              <a:gd name="connsiteY37" fmla="*/ 2387600 h 2438400"/>
              <a:gd name="connsiteX38" fmla="*/ 254000 w 6543040"/>
              <a:gd name="connsiteY38" fmla="*/ 2367280 h 2438400"/>
              <a:gd name="connsiteX39" fmla="*/ 162560 w 6543040"/>
              <a:gd name="connsiteY39" fmla="*/ 2326640 h 2438400"/>
              <a:gd name="connsiteX40" fmla="*/ 91440 w 6543040"/>
              <a:gd name="connsiteY40" fmla="*/ 2235200 h 2438400"/>
              <a:gd name="connsiteX41" fmla="*/ 71120 w 6543040"/>
              <a:gd name="connsiteY41" fmla="*/ 2204720 h 2438400"/>
              <a:gd name="connsiteX42" fmla="*/ 40640 w 6543040"/>
              <a:gd name="connsiteY42" fmla="*/ 2164080 h 2438400"/>
              <a:gd name="connsiteX43" fmla="*/ 10160 w 6543040"/>
              <a:gd name="connsiteY43" fmla="*/ 2092960 h 2438400"/>
              <a:gd name="connsiteX44" fmla="*/ 0 w 6543040"/>
              <a:gd name="connsiteY44" fmla="*/ 2052320 h 2438400"/>
              <a:gd name="connsiteX45" fmla="*/ 10160 w 6543040"/>
              <a:gd name="connsiteY45" fmla="*/ 1564640 h 2438400"/>
              <a:gd name="connsiteX46" fmla="*/ 20320 w 6543040"/>
              <a:gd name="connsiteY46" fmla="*/ 1534160 h 2438400"/>
              <a:gd name="connsiteX47" fmla="*/ 40640 w 6543040"/>
              <a:gd name="connsiteY47" fmla="*/ 1503680 h 2438400"/>
              <a:gd name="connsiteX48" fmla="*/ 71120 w 6543040"/>
              <a:gd name="connsiteY48" fmla="*/ 1381760 h 2438400"/>
              <a:gd name="connsiteX49" fmla="*/ 81280 w 6543040"/>
              <a:gd name="connsiteY49" fmla="*/ 1351280 h 2438400"/>
              <a:gd name="connsiteX50" fmla="*/ 101600 w 6543040"/>
              <a:gd name="connsiteY50" fmla="*/ 1320800 h 2438400"/>
              <a:gd name="connsiteX51" fmla="*/ 111760 w 6543040"/>
              <a:gd name="connsiteY51" fmla="*/ 1280160 h 2438400"/>
              <a:gd name="connsiteX52" fmla="*/ 162560 w 6543040"/>
              <a:gd name="connsiteY52" fmla="*/ 1229360 h 2438400"/>
              <a:gd name="connsiteX53" fmla="*/ 182880 w 6543040"/>
              <a:gd name="connsiteY53" fmla="*/ 1168400 h 2438400"/>
              <a:gd name="connsiteX54" fmla="*/ 203200 w 6543040"/>
              <a:gd name="connsiteY54" fmla="*/ 1137920 h 2438400"/>
              <a:gd name="connsiteX55" fmla="*/ 213360 w 6543040"/>
              <a:gd name="connsiteY55" fmla="*/ 1107440 h 2438400"/>
              <a:gd name="connsiteX56" fmla="*/ 243840 w 6543040"/>
              <a:gd name="connsiteY56" fmla="*/ 1097280 h 2438400"/>
              <a:gd name="connsiteX57" fmla="*/ 294640 w 6543040"/>
              <a:gd name="connsiteY57" fmla="*/ 1046480 h 2438400"/>
              <a:gd name="connsiteX58" fmla="*/ 325120 w 6543040"/>
              <a:gd name="connsiteY58" fmla="*/ 1016000 h 2438400"/>
              <a:gd name="connsiteX59" fmla="*/ 386080 w 6543040"/>
              <a:gd name="connsiteY59" fmla="*/ 975360 h 2438400"/>
              <a:gd name="connsiteX60" fmla="*/ 416560 w 6543040"/>
              <a:gd name="connsiteY60" fmla="*/ 955040 h 2438400"/>
              <a:gd name="connsiteX61" fmla="*/ 467360 w 6543040"/>
              <a:gd name="connsiteY61" fmla="*/ 894080 h 2438400"/>
              <a:gd name="connsiteX62" fmla="*/ 508000 w 6543040"/>
              <a:gd name="connsiteY62" fmla="*/ 873760 h 2438400"/>
              <a:gd name="connsiteX63" fmla="*/ 558800 w 6543040"/>
              <a:gd name="connsiteY63" fmla="*/ 802640 h 2438400"/>
              <a:gd name="connsiteX64" fmla="*/ 579120 w 6543040"/>
              <a:gd name="connsiteY64" fmla="*/ 772160 h 2438400"/>
              <a:gd name="connsiteX65" fmla="*/ 701040 w 6543040"/>
              <a:gd name="connsiteY65" fmla="*/ 660400 h 2438400"/>
              <a:gd name="connsiteX66" fmla="*/ 731520 w 6543040"/>
              <a:gd name="connsiteY66" fmla="*/ 629920 h 2438400"/>
              <a:gd name="connsiteX67" fmla="*/ 802640 w 6543040"/>
              <a:gd name="connsiteY67" fmla="*/ 579120 h 2438400"/>
              <a:gd name="connsiteX68" fmla="*/ 853440 w 6543040"/>
              <a:gd name="connsiteY68" fmla="*/ 538480 h 2438400"/>
              <a:gd name="connsiteX69" fmla="*/ 924560 w 6543040"/>
              <a:gd name="connsiteY69" fmla="*/ 508000 h 2438400"/>
              <a:gd name="connsiteX70" fmla="*/ 1046480 w 6543040"/>
              <a:gd name="connsiteY70" fmla="*/ 457200 h 2438400"/>
              <a:gd name="connsiteX71" fmla="*/ 1117600 w 6543040"/>
              <a:gd name="connsiteY71" fmla="*/ 416560 h 2438400"/>
              <a:gd name="connsiteX72" fmla="*/ 1198880 w 6543040"/>
              <a:gd name="connsiteY72" fmla="*/ 396240 h 2438400"/>
              <a:gd name="connsiteX73" fmla="*/ 1320800 w 6543040"/>
              <a:gd name="connsiteY73" fmla="*/ 365760 h 2438400"/>
              <a:gd name="connsiteX74" fmla="*/ 1351280 w 6543040"/>
              <a:gd name="connsiteY74" fmla="*/ 345440 h 2438400"/>
              <a:gd name="connsiteX75" fmla="*/ 1463040 w 6543040"/>
              <a:gd name="connsiteY75" fmla="*/ 325120 h 2438400"/>
              <a:gd name="connsiteX76" fmla="*/ 1503680 w 6543040"/>
              <a:gd name="connsiteY76" fmla="*/ 314960 h 2438400"/>
              <a:gd name="connsiteX77" fmla="*/ 1554480 w 6543040"/>
              <a:gd name="connsiteY77" fmla="*/ 304800 h 2438400"/>
              <a:gd name="connsiteX78" fmla="*/ 1584960 w 6543040"/>
              <a:gd name="connsiteY78" fmla="*/ 294640 h 2438400"/>
              <a:gd name="connsiteX79" fmla="*/ 1696720 w 6543040"/>
              <a:gd name="connsiteY79" fmla="*/ 274320 h 2438400"/>
              <a:gd name="connsiteX80" fmla="*/ 1788160 w 6543040"/>
              <a:gd name="connsiteY80" fmla="*/ 243840 h 2438400"/>
              <a:gd name="connsiteX81" fmla="*/ 1889760 w 6543040"/>
              <a:gd name="connsiteY81" fmla="*/ 223520 h 2438400"/>
              <a:gd name="connsiteX82" fmla="*/ 1991360 w 6543040"/>
              <a:gd name="connsiteY82" fmla="*/ 193040 h 2438400"/>
              <a:gd name="connsiteX83" fmla="*/ 2052320 w 6543040"/>
              <a:gd name="connsiteY83" fmla="*/ 182880 h 2438400"/>
              <a:gd name="connsiteX84" fmla="*/ 2143760 w 6543040"/>
              <a:gd name="connsiteY84" fmla="*/ 152400 h 2438400"/>
              <a:gd name="connsiteX85" fmla="*/ 2204720 w 6543040"/>
              <a:gd name="connsiteY85" fmla="*/ 132080 h 2438400"/>
              <a:gd name="connsiteX86" fmla="*/ 2235200 w 6543040"/>
              <a:gd name="connsiteY86" fmla="*/ 121920 h 2438400"/>
              <a:gd name="connsiteX87" fmla="*/ 2275840 w 6543040"/>
              <a:gd name="connsiteY87" fmla="*/ 111760 h 2438400"/>
              <a:gd name="connsiteX88" fmla="*/ 2336800 w 6543040"/>
              <a:gd name="connsiteY88" fmla="*/ 81280 h 2438400"/>
              <a:gd name="connsiteX89" fmla="*/ 2367280 w 6543040"/>
              <a:gd name="connsiteY89" fmla="*/ 60960 h 2438400"/>
              <a:gd name="connsiteX90" fmla="*/ 2448560 w 6543040"/>
              <a:gd name="connsiteY90" fmla="*/ 40640 h 2438400"/>
              <a:gd name="connsiteX91" fmla="*/ 2479040 w 6543040"/>
              <a:gd name="connsiteY91" fmla="*/ 30480 h 2438400"/>
              <a:gd name="connsiteX92" fmla="*/ 2611120 w 6543040"/>
              <a:gd name="connsiteY92" fmla="*/ 0 h 2438400"/>
              <a:gd name="connsiteX93" fmla="*/ 3251200 w 6543040"/>
              <a:gd name="connsiteY93" fmla="*/ 10160 h 2438400"/>
              <a:gd name="connsiteX94" fmla="*/ 3291840 w 6543040"/>
              <a:gd name="connsiteY94" fmla="*/ 20320 h 2438400"/>
              <a:gd name="connsiteX95" fmla="*/ 3647440 w 6543040"/>
              <a:gd name="connsiteY95" fmla="*/ 30480 h 2438400"/>
              <a:gd name="connsiteX96" fmla="*/ 3881120 w 6543040"/>
              <a:gd name="connsiteY96" fmla="*/ 50800 h 2438400"/>
              <a:gd name="connsiteX97" fmla="*/ 3982720 w 6543040"/>
              <a:gd name="connsiteY97" fmla="*/ 71120 h 2438400"/>
              <a:gd name="connsiteX98" fmla="*/ 4033520 w 6543040"/>
              <a:gd name="connsiteY98" fmla="*/ 91440 h 2438400"/>
              <a:gd name="connsiteX99" fmla="*/ 4074160 w 6543040"/>
              <a:gd name="connsiteY99" fmla="*/ 101600 h 2438400"/>
              <a:gd name="connsiteX100" fmla="*/ 4135120 w 6543040"/>
              <a:gd name="connsiteY100" fmla="*/ 121920 h 2438400"/>
              <a:gd name="connsiteX101" fmla="*/ 4185920 w 6543040"/>
              <a:gd name="connsiteY101" fmla="*/ 132080 h 2438400"/>
              <a:gd name="connsiteX102" fmla="*/ 4216400 w 6543040"/>
              <a:gd name="connsiteY102" fmla="*/ 142240 h 2438400"/>
              <a:gd name="connsiteX103" fmla="*/ 4257040 w 6543040"/>
              <a:gd name="connsiteY103" fmla="*/ 162560 h 2438400"/>
              <a:gd name="connsiteX104" fmla="*/ 4612640 w 6543040"/>
              <a:gd name="connsiteY104" fmla="*/ 172720 h 2438400"/>
              <a:gd name="connsiteX105" fmla="*/ 4826000 w 6543040"/>
              <a:gd name="connsiteY105" fmla="*/ 203200 h 2438400"/>
              <a:gd name="connsiteX106" fmla="*/ 4937760 w 6543040"/>
              <a:gd name="connsiteY106" fmla="*/ 213360 h 2438400"/>
              <a:gd name="connsiteX107" fmla="*/ 5039360 w 6543040"/>
              <a:gd name="connsiteY107" fmla="*/ 254000 h 2438400"/>
              <a:gd name="connsiteX108" fmla="*/ 5110480 w 6543040"/>
              <a:gd name="connsiteY108" fmla="*/ 264160 h 2438400"/>
              <a:gd name="connsiteX109" fmla="*/ 5232400 w 6543040"/>
              <a:gd name="connsiteY109" fmla="*/ 284480 h 2438400"/>
              <a:gd name="connsiteX110" fmla="*/ 5293360 w 6543040"/>
              <a:gd name="connsiteY110" fmla="*/ 304800 h 2438400"/>
              <a:gd name="connsiteX111" fmla="*/ 5344160 w 6543040"/>
              <a:gd name="connsiteY111" fmla="*/ 314960 h 2438400"/>
              <a:gd name="connsiteX112" fmla="*/ 5394960 w 6543040"/>
              <a:gd name="connsiteY112" fmla="*/ 345440 h 2438400"/>
              <a:gd name="connsiteX113" fmla="*/ 5425440 w 6543040"/>
              <a:gd name="connsiteY113" fmla="*/ 355600 h 2438400"/>
              <a:gd name="connsiteX114" fmla="*/ 5455920 w 6543040"/>
              <a:gd name="connsiteY114" fmla="*/ 375920 h 2438400"/>
              <a:gd name="connsiteX115" fmla="*/ 5557520 w 6543040"/>
              <a:gd name="connsiteY115" fmla="*/ 406400 h 2438400"/>
              <a:gd name="connsiteX116" fmla="*/ 5618480 w 6543040"/>
              <a:gd name="connsiteY116" fmla="*/ 447040 h 2438400"/>
              <a:gd name="connsiteX117" fmla="*/ 5679440 w 6543040"/>
              <a:gd name="connsiteY117" fmla="*/ 477520 h 2438400"/>
              <a:gd name="connsiteX118" fmla="*/ 5791200 w 6543040"/>
              <a:gd name="connsiteY118" fmla="*/ 558800 h 2438400"/>
              <a:gd name="connsiteX119" fmla="*/ 5821680 w 6543040"/>
              <a:gd name="connsiteY119" fmla="*/ 568960 h 2438400"/>
              <a:gd name="connsiteX120" fmla="*/ 5872480 w 6543040"/>
              <a:gd name="connsiteY120" fmla="*/ 619760 h 2438400"/>
              <a:gd name="connsiteX121" fmla="*/ 5933440 w 6543040"/>
              <a:gd name="connsiteY121" fmla="*/ 640080 h 2438400"/>
              <a:gd name="connsiteX122" fmla="*/ 5974080 w 6543040"/>
              <a:gd name="connsiteY122" fmla="*/ 680720 h 2438400"/>
              <a:gd name="connsiteX123" fmla="*/ 6004560 w 6543040"/>
              <a:gd name="connsiteY123" fmla="*/ 690880 h 2438400"/>
              <a:gd name="connsiteX124" fmla="*/ 6024880 w 6543040"/>
              <a:gd name="connsiteY124" fmla="*/ 751840 h 2438400"/>
              <a:gd name="connsiteX125" fmla="*/ 6096000 w 6543040"/>
              <a:gd name="connsiteY125" fmla="*/ 843280 h 2438400"/>
              <a:gd name="connsiteX126" fmla="*/ 6126480 w 6543040"/>
              <a:gd name="connsiteY126" fmla="*/ 863600 h 2438400"/>
              <a:gd name="connsiteX127" fmla="*/ 6187440 w 6543040"/>
              <a:gd name="connsiteY127" fmla="*/ 914400 h 2438400"/>
              <a:gd name="connsiteX128" fmla="*/ 6217920 w 6543040"/>
              <a:gd name="connsiteY128" fmla="*/ 944880 h 2438400"/>
              <a:gd name="connsiteX129" fmla="*/ 6268720 w 6543040"/>
              <a:gd name="connsiteY129" fmla="*/ 1016000 h 2438400"/>
              <a:gd name="connsiteX130" fmla="*/ 6299200 w 6543040"/>
              <a:gd name="connsiteY130" fmla="*/ 1036320 h 2438400"/>
              <a:gd name="connsiteX131" fmla="*/ 6339840 w 6543040"/>
              <a:gd name="connsiteY131" fmla="*/ 1107440 h 2438400"/>
              <a:gd name="connsiteX132" fmla="*/ 6350000 w 6543040"/>
              <a:gd name="connsiteY132" fmla="*/ 1137920 h 2438400"/>
              <a:gd name="connsiteX133" fmla="*/ 6380480 w 6543040"/>
              <a:gd name="connsiteY133" fmla="*/ 1178560 h 2438400"/>
              <a:gd name="connsiteX134" fmla="*/ 6410960 w 6543040"/>
              <a:gd name="connsiteY134" fmla="*/ 1239520 h 2438400"/>
              <a:gd name="connsiteX135" fmla="*/ 6461760 w 6543040"/>
              <a:gd name="connsiteY135" fmla="*/ 1341120 h 2438400"/>
              <a:gd name="connsiteX136" fmla="*/ 6482080 w 6543040"/>
              <a:gd name="connsiteY136" fmla="*/ 1432560 h 2438400"/>
              <a:gd name="connsiteX137" fmla="*/ 6502400 w 6543040"/>
              <a:gd name="connsiteY137" fmla="*/ 1493520 h 2438400"/>
              <a:gd name="connsiteX138" fmla="*/ 6512560 w 6543040"/>
              <a:gd name="connsiteY138" fmla="*/ 1524000 h 2438400"/>
              <a:gd name="connsiteX139" fmla="*/ 6543040 w 6543040"/>
              <a:gd name="connsiteY139" fmla="*/ 1605280 h 2438400"/>
              <a:gd name="connsiteX140" fmla="*/ 6532880 w 6543040"/>
              <a:gd name="connsiteY140" fmla="*/ 1828800 h 2438400"/>
              <a:gd name="connsiteX141" fmla="*/ 6502400 w 6543040"/>
              <a:gd name="connsiteY141" fmla="*/ 1849120 h 2438400"/>
              <a:gd name="connsiteX142" fmla="*/ 6085840 w 6543040"/>
              <a:gd name="connsiteY142" fmla="*/ 1859280 h 2438400"/>
              <a:gd name="connsiteX143" fmla="*/ 6045200 w 6543040"/>
              <a:gd name="connsiteY143" fmla="*/ 1869440 h 2438400"/>
              <a:gd name="connsiteX144" fmla="*/ 6014720 w 6543040"/>
              <a:gd name="connsiteY144" fmla="*/ 1879600 h 2438400"/>
              <a:gd name="connsiteX145" fmla="*/ 5882640 w 6543040"/>
              <a:gd name="connsiteY145" fmla="*/ 1899920 h 2438400"/>
              <a:gd name="connsiteX146" fmla="*/ 5679440 w 6543040"/>
              <a:gd name="connsiteY146" fmla="*/ 1889760 h 2438400"/>
              <a:gd name="connsiteX147" fmla="*/ 5638800 w 6543040"/>
              <a:gd name="connsiteY147" fmla="*/ 1879600 h 2438400"/>
              <a:gd name="connsiteX148" fmla="*/ 5608320 w 6543040"/>
              <a:gd name="connsiteY148" fmla="*/ 1849120 h 2438400"/>
              <a:gd name="connsiteX149" fmla="*/ 5577840 w 6543040"/>
              <a:gd name="connsiteY149" fmla="*/ 1828800 h 2438400"/>
              <a:gd name="connsiteX150" fmla="*/ 5557520 w 6543040"/>
              <a:gd name="connsiteY150" fmla="*/ 1798320 h 2438400"/>
              <a:gd name="connsiteX151" fmla="*/ 5527040 w 6543040"/>
              <a:gd name="connsiteY151" fmla="*/ 1788160 h 2438400"/>
              <a:gd name="connsiteX152" fmla="*/ 5516880 w 6543040"/>
              <a:gd name="connsiteY152" fmla="*/ 1757680 h 2438400"/>
              <a:gd name="connsiteX153" fmla="*/ 5455920 w 6543040"/>
              <a:gd name="connsiteY153" fmla="*/ 1727200 h 2438400"/>
              <a:gd name="connsiteX154" fmla="*/ 5425440 w 6543040"/>
              <a:gd name="connsiteY154" fmla="*/ 1696720 h 2438400"/>
              <a:gd name="connsiteX155" fmla="*/ 5415280 w 6543040"/>
              <a:gd name="connsiteY155" fmla="*/ 1666240 h 2438400"/>
              <a:gd name="connsiteX156" fmla="*/ 5374640 w 6543040"/>
              <a:gd name="connsiteY156" fmla="*/ 1645920 h 2438400"/>
              <a:gd name="connsiteX157" fmla="*/ 5344160 w 6543040"/>
              <a:gd name="connsiteY157" fmla="*/ 1625600 h 2438400"/>
              <a:gd name="connsiteX158" fmla="*/ 5323840 w 6543040"/>
              <a:gd name="connsiteY158" fmla="*/ 1595120 h 2438400"/>
              <a:gd name="connsiteX159" fmla="*/ 5252720 w 6543040"/>
              <a:gd name="connsiteY159" fmla="*/ 1544320 h 2438400"/>
              <a:gd name="connsiteX160" fmla="*/ 5222240 w 6543040"/>
              <a:gd name="connsiteY160" fmla="*/ 1513840 h 2438400"/>
              <a:gd name="connsiteX161" fmla="*/ 5191760 w 6543040"/>
              <a:gd name="connsiteY161" fmla="*/ 1503680 h 2438400"/>
              <a:gd name="connsiteX162" fmla="*/ 5130800 w 6543040"/>
              <a:gd name="connsiteY162" fmla="*/ 1463040 h 2438400"/>
              <a:gd name="connsiteX163" fmla="*/ 5069840 w 6543040"/>
              <a:gd name="connsiteY163" fmla="*/ 1442720 h 2438400"/>
              <a:gd name="connsiteX164" fmla="*/ 5049520 w 6543040"/>
              <a:gd name="connsiteY164" fmla="*/ 1412240 h 2438400"/>
              <a:gd name="connsiteX165" fmla="*/ 5008880 w 6543040"/>
              <a:gd name="connsiteY165" fmla="*/ 1402080 h 2438400"/>
              <a:gd name="connsiteX166" fmla="*/ 4978400 w 6543040"/>
              <a:gd name="connsiteY166" fmla="*/ 1381760 h 2438400"/>
              <a:gd name="connsiteX167" fmla="*/ 4927600 w 6543040"/>
              <a:gd name="connsiteY167" fmla="*/ 1371600 h 2438400"/>
              <a:gd name="connsiteX168" fmla="*/ 4866640 w 6543040"/>
              <a:gd name="connsiteY168" fmla="*/ 1351280 h 2438400"/>
              <a:gd name="connsiteX169" fmla="*/ 4775200 w 6543040"/>
              <a:gd name="connsiteY169" fmla="*/ 1310640 h 2438400"/>
              <a:gd name="connsiteX170" fmla="*/ 4683760 w 6543040"/>
              <a:gd name="connsiteY170" fmla="*/ 1290320 h 2438400"/>
              <a:gd name="connsiteX171" fmla="*/ 4582160 w 6543040"/>
              <a:gd name="connsiteY171" fmla="*/ 1280160 h 2438400"/>
              <a:gd name="connsiteX172" fmla="*/ 4511040 w 6543040"/>
              <a:gd name="connsiteY172" fmla="*/ 1239520 h 2438400"/>
              <a:gd name="connsiteX173" fmla="*/ 4460240 w 6543040"/>
              <a:gd name="connsiteY173" fmla="*/ 1229360 h 2438400"/>
              <a:gd name="connsiteX174" fmla="*/ 4399280 w 6543040"/>
              <a:gd name="connsiteY174" fmla="*/ 1209040 h 2438400"/>
              <a:gd name="connsiteX175" fmla="*/ 4328160 w 6543040"/>
              <a:gd name="connsiteY175" fmla="*/ 1198880 h 2438400"/>
              <a:gd name="connsiteX176" fmla="*/ 4175760 w 6543040"/>
              <a:gd name="connsiteY176" fmla="*/ 1178560 h 2438400"/>
              <a:gd name="connsiteX177" fmla="*/ 4094480 w 6543040"/>
              <a:gd name="connsiteY177" fmla="*/ 1148080 h 2438400"/>
              <a:gd name="connsiteX178" fmla="*/ 4064000 w 6543040"/>
              <a:gd name="connsiteY178" fmla="*/ 1137920 h 2438400"/>
              <a:gd name="connsiteX179" fmla="*/ 3779520 w 6543040"/>
              <a:gd name="connsiteY179" fmla="*/ 1117600 h 2438400"/>
              <a:gd name="connsiteX180" fmla="*/ 3373120 w 6543040"/>
              <a:gd name="connsiteY180" fmla="*/ 1127760 h 2438400"/>
              <a:gd name="connsiteX181" fmla="*/ 3322320 w 6543040"/>
              <a:gd name="connsiteY181" fmla="*/ 1137920 h 2438400"/>
              <a:gd name="connsiteX182" fmla="*/ 3281680 w 6543040"/>
              <a:gd name="connsiteY182" fmla="*/ 1148080 h 2438400"/>
              <a:gd name="connsiteX183" fmla="*/ 3190240 w 6543040"/>
              <a:gd name="connsiteY183" fmla="*/ 1178560 h 2438400"/>
              <a:gd name="connsiteX184" fmla="*/ 3078480 w 6543040"/>
              <a:gd name="connsiteY184" fmla="*/ 1198880 h 2438400"/>
              <a:gd name="connsiteX185" fmla="*/ 3017520 w 6543040"/>
              <a:gd name="connsiteY185" fmla="*/ 1219200 h 2438400"/>
              <a:gd name="connsiteX186" fmla="*/ 2895600 w 6543040"/>
              <a:gd name="connsiteY186" fmla="*/ 1239520 h 2438400"/>
              <a:gd name="connsiteX187" fmla="*/ 2844800 w 6543040"/>
              <a:gd name="connsiteY187" fmla="*/ 1259840 h 2438400"/>
              <a:gd name="connsiteX188" fmla="*/ 2783840 w 6543040"/>
              <a:gd name="connsiteY188" fmla="*/ 1270000 h 2438400"/>
              <a:gd name="connsiteX189" fmla="*/ 2407920 w 6543040"/>
              <a:gd name="connsiteY189" fmla="*/ 1290320 h 2438400"/>
              <a:gd name="connsiteX190" fmla="*/ 2357120 w 6543040"/>
              <a:gd name="connsiteY190" fmla="*/ 1300480 h 2438400"/>
              <a:gd name="connsiteX191" fmla="*/ 2255520 w 6543040"/>
              <a:gd name="connsiteY191" fmla="*/ 1320800 h 2438400"/>
              <a:gd name="connsiteX192" fmla="*/ 2123440 w 6543040"/>
              <a:gd name="connsiteY192" fmla="*/ 1341120 h 243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6543040" h="2438400">
                <a:moveTo>
                  <a:pt x="2123440" y="1341120"/>
                </a:moveTo>
                <a:cubicBezTo>
                  <a:pt x="2020906" y="1353937"/>
                  <a:pt x="2068063" y="1342646"/>
                  <a:pt x="1981200" y="1371600"/>
                </a:cubicBezTo>
                <a:lnTo>
                  <a:pt x="1950720" y="1381760"/>
                </a:lnTo>
                <a:cubicBezTo>
                  <a:pt x="1943947" y="1391920"/>
                  <a:pt x="1939034" y="1403606"/>
                  <a:pt x="1930400" y="1412240"/>
                </a:cubicBezTo>
                <a:cubicBezTo>
                  <a:pt x="1921766" y="1420874"/>
                  <a:pt x="1911078" y="1427601"/>
                  <a:pt x="1899920" y="1432560"/>
                </a:cubicBezTo>
                <a:cubicBezTo>
                  <a:pt x="1868117" y="1446695"/>
                  <a:pt x="1832096" y="1454596"/>
                  <a:pt x="1798320" y="1463040"/>
                </a:cubicBezTo>
                <a:cubicBezTo>
                  <a:pt x="1791547" y="1473200"/>
                  <a:pt x="1786634" y="1484886"/>
                  <a:pt x="1778000" y="1493520"/>
                </a:cubicBezTo>
                <a:cubicBezTo>
                  <a:pt x="1769366" y="1502154"/>
                  <a:pt x="1755148" y="1504305"/>
                  <a:pt x="1747520" y="1513840"/>
                </a:cubicBezTo>
                <a:cubicBezTo>
                  <a:pt x="1740830" y="1522203"/>
                  <a:pt x="1742149" y="1534741"/>
                  <a:pt x="1737360" y="1544320"/>
                </a:cubicBezTo>
                <a:cubicBezTo>
                  <a:pt x="1720427" y="1578187"/>
                  <a:pt x="1717040" y="1574800"/>
                  <a:pt x="1686560" y="1595120"/>
                </a:cubicBezTo>
                <a:cubicBezTo>
                  <a:pt x="1679787" y="1605280"/>
                  <a:pt x="1671199" y="1614442"/>
                  <a:pt x="1666240" y="1625600"/>
                </a:cubicBezTo>
                <a:cubicBezTo>
                  <a:pt x="1657541" y="1645173"/>
                  <a:pt x="1663742" y="1674679"/>
                  <a:pt x="1645920" y="1686560"/>
                </a:cubicBezTo>
                <a:lnTo>
                  <a:pt x="1615440" y="1706880"/>
                </a:lnTo>
                <a:cubicBezTo>
                  <a:pt x="1608667" y="1720427"/>
                  <a:pt x="1601086" y="1733599"/>
                  <a:pt x="1595120" y="1747520"/>
                </a:cubicBezTo>
                <a:cubicBezTo>
                  <a:pt x="1590901" y="1757364"/>
                  <a:pt x="1589749" y="1768421"/>
                  <a:pt x="1584960" y="1778000"/>
                </a:cubicBezTo>
                <a:cubicBezTo>
                  <a:pt x="1579499" y="1788922"/>
                  <a:pt x="1571413" y="1798320"/>
                  <a:pt x="1564640" y="1808480"/>
                </a:cubicBezTo>
                <a:cubicBezTo>
                  <a:pt x="1561253" y="1822027"/>
                  <a:pt x="1562226" y="1837502"/>
                  <a:pt x="1554480" y="1849120"/>
                </a:cubicBezTo>
                <a:cubicBezTo>
                  <a:pt x="1547707" y="1859280"/>
                  <a:pt x="1530472" y="1859085"/>
                  <a:pt x="1524000" y="1869440"/>
                </a:cubicBezTo>
                <a:cubicBezTo>
                  <a:pt x="1512648" y="1887603"/>
                  <a:pt x="1510453" y="1910080"/>
                  <a:pt x="1503680" y="1930400"/>
                </a:cubicBezTo>
                <a:cubicBezTo>
                  <a:pt x="1500293" y="1940560"/>
                  <a:pt x="1499461" y="1951969"/>
                  <a:pt x="1493520" y="1960880"/>
                </a:cubicBezTo>
                <a:cubicBezTo>
                  <a:pt x="1463807" y="2005449"/>
                  <a:pt x="1480526" y="1981591"/>
                  <a:pt x="1442720" y="2032000"/>
                </a:cubicBezTo>
                <a:cubicBezTo>
                  <a:pt x="1417183" y="2108612"/>
                  <a:pt x="1451631" y="2014178"/>
                  <a:pt x="1412240" y="2092960"/>
                </a:cubicBezTo>
                <a:cubicBezTo>
                  <a:pt x="1407451" y="2102539"/>
                  <a:pt x="1409653" y="2115867"/>
                  <a:pt x="1402080" y="2123440"/>
                </a:cubicBezTo>
                <a:cubicBezTo>
                  <a:pt x="1394507" y="2131013"/>
                  <a:pt x="1381760" y="2130213"/>
                  <a:pt x="1371600" y="2133600"/>
                </a:cubicBezTo>
                <a:cubicBezTo>
                  <a:pt x="1364827" y="2147147"/>
                  <a:pt x="1359072" y="2161253"/>
                  <a:pt x="1351280" y="2174240"/>
                </a:cubicBezTo>
                <a:cubicBezTo>
                  <a:pt x="1338715" y="2195181"/>
                  <a:pt x="1318363" y="2212032"/>
                  <a:pt x="1310640" y="2235200"/>
                </a:cubicBezTo>
                <a:cubicBezTo>
                  <a:pt x="1307253" y="2245360"/>
                  <a:pt x="1307336" y="2257453"/>
                  <a:pt x="1300480" y="2265680"/>
                </a:cubicBezTo>
                <a:cubicBezTo>
                  <a:pt x="1289640" y="2278689"/>
                  <a:pt x="1272697" y="2285140"/>
                  <a:pt x="1259840" y="2296160"/>
                </a:cubicBezTo>
                <a:cubicBezTo>
                  <a:pt x="1248931" y="2305511"/>
                  <a:pt x="1240398" y="2317442"/>
                  <a:pt x="1229360" y="2326640"/>
                </a:cubicBezTo>
                <a:cubicBezTo>
                  <a:pt x="1203099" y="2348524"/>
                  <a:pt x="1198948" y="2346937"/>
                  <a:pt x="1168400" y="2357120"/>
                </a:cubicBezTo>
                <a:cubicBezTo>
                  <a:pt x="1161627" y="2367280"/>
                  <a:pt x="1159002" y="2382139"/>
                  <a:pt x="1148080" y="2387600"/>
                </a:cubicBezTo>
                <a:cubicBezTo>
                  <a:pt x="1123101" y="2400089"/>
                  <a:pt x="1093893" y="2401147"/>
                  <a:pt x="1066800" y="2407920"/>
                </a:cubicBezTo>
                <a:cubicBezTo>
                  <a:pt x="1023060" y="2418855"/>
                  <a:pt x="1015022" y="2422012"/>
                  <a:pt x="965200" y="2428240"/>
                </a:cubicBezTo>
                <a:cubicBezTo>
                  <a:pt x="931427" y="2432462"/>
                  <a:pt x="897467" y="2435013"/>
                  <a:pt x="863600" y="2438400"/>
                </a:cubicBezTo>
                <a:lnTo>
                  <a:pt x="406400" y="2428240"/>
                </a:lnTo>
                <a:cubicBezTo>
                  <a:pt x="385816" y="2427433"/>
                  <a:pt x="364983" y="2424594"/>
                  <a:pt x="345440" y="2418080"/>
                </a:cubicBezTo>
                <a:cubicBezTo>
                  <a:pt x="333856" y="2414219"/>
                  <a:pt x="325882" y="2403221"/>
                  <a:pt x="314960" y="2397760"/>
                </a:cubicBezTo>
                <a:cubicBezTo>
                  <a:pt x="305381" y="2392971"/>
                  <a:pt x="294059" y="2392389"/>
                  <a:pt x="284480" y="2387600"/>
                </a:cubicBezTo>
                <a:cubicBezTo>
                  <a:pt x="273558" y="2382139"/>
                  <a:pt x="265158" y="2372239"/>
                  <a:pt x="254000" y="2367280"/>
                </a:cubicBezTo>
                <a:cubicBezTo>
                  <a:pt x="197040" y="2341965"/>
                  <a:pt x="201977" y="2359488"/>
                  <a:pt x="162560" y="2326640"/>
                </a:cubicBezTo>
                <a:cubicBezTo>
                  <a:pt x="126748" y="2296797"/>
                  <a:pt x="119761" y="2277681"/>
                  <a:pt x="91440" y="2235200"/>
                </a:cubicBezTo>
                <a:cubicBezTo>
                  <a:pt x="84667" y="2225040"/>
                  <a:pt x="78446" y="2214489"/>
                  <a:pt x="71120" y="2204720"/>
                </a:cubicBezTo>
                <a:cubicBezTo>
                  <a:pt x="60960" y="2191173"/>
                  <a:pt x="49615" y="2178439"/>
                  <a:pt x="40640" y="2164080"/>
                </a:cubicBezTo>
                <a:cubicBezTo>
                  <a:pt x="26380" y="2141265"/>
                  <a:pt x="17437" y="2118431"/>
                  <a:pt x="10160" y="2092960"/>
                </a:cubicBezTo>
                <a:cubicBezTo>
                  <a:pt x="6324" y="2079534"/>
                  <a:pt x="3387" y="2065867"/>
                  <a:pt x="0" y="2052320"/>
                </a:cubicBezTo>
                <a:cubicBezTo>
                  <a:pt x="3387" y="1889760"/>
                  <a:pt x="3789" y="1727110"/>
                  <a:pt x="10160" y="1564640"/>
                </a:cubicBezTo>
                <a:cubicBezTo>
                  <a:pt x="10580" y="1553939"/>
                  <a:pt x="15531" y="1543739"/>
                  <a:pt x="20320" y="1534160"/>
                </a:cubicBezTo>
                <a:cubicBezTo>
                  <a:pt x="25781" y="1523238"/>
                  <a:pt x="33867" y="1513840"/>
                  <a:pt x="40640" y="1503680"/>
                </a:cubicBezTo>
                <a:cubicBezTo>
                  <a:pt x="54321" y="1421592"/>
                  <a:pt x="44286" y="1462263"/>
                  <a:pt x="71120" y="1381760"/>
                </a:cubicBezTo>
                <a:cubicBezTo>
                  <a:pt x="74507" y="1371600"/>
                  <a:pt x="75339" y="1360191"/>
                  <a:pt x="81280" y="1351280"/>
                </a:cubicBezTo>
                <a:lnTo>
                  <a:pt x="101600" y="1320800"/>
                </a:lnTo>
                <a:cubicBezTo>
                  <a:pt x="104987" y="1307253"/>
                  <a:pt x="104014" y="1291778"/>
                  <a:pt x="111760" y="1280160"/>
                </a:cubicBezTo>
                <a:cubicBezTo>
                  <a:pt x="170462" y="1192107"/>
                  <a:pt x="117404" y="1330960"/>
                  <a:pt x="162560" y="1229360"/>
                </a:cubicBezTo>
                <a:cubicBezTo>
                  <a:pt x="171259" y="1209787"/>
                  <a:pt x="170999" y="1186222"/>
                  <a:pt x="182880" y="1168400"/>
                </a:cubicBezTo>
                <a:cubicBezTo>
                  <a:pt x="189653" y="1158240"/>
                  <a:pt x="197739" y="1148842"/>
                  <a:pt x="203200" y="1137920"/>
                </a:cubicBezTo>
                <a:cubicBezTo>
                  <a:pt x="207989" y="1128341"/>
                  <a:pt x="205787" y="1115013"/>
                  <a:pt x="213360" y="1107440"/>
                </a:cubicBezTo>
                <a:cubicBezTo>
                  <a:pt x="220933" y="1099867"/>
                  <a:pt x="233680" y="1100667"/>
                  <a:pt x="243840" y="1097280"/>
                </a:cubicBezTo>
                <a:cubicBezTo>
                  <a:pt x="281093" y="1041400"/>
                  <a:pt x="243840" y="1088813"/>
                  <a:pt x="294640" y="1046480"/>
                </a:cubicBezTo>
                <a:cubicBezTo>
                  <a:pt x="305678" y="1037282"/>
                  <a:pt x="313778" y="1024821"/>
                  <a:pt x="325120" y="1016000"/>
                </a:cubicBezTo>
                <a:cubicBezTo>
                  <a:pt x="344397" y="1001007"/>
                  <a:pt x="365760" y="988907"/>
                  <a:pt x="386080" y="975360"/>
                </a:cubicBezTo>
                <a:lnTo>
                  <a:pt x="416560" y="955040"/>
                </a:lnTo>
                <a:cubicBezTo>
                  <a:pt x="432763" y="930736"/>
                  <a:pt x="442469" y="911859"/>
                  <a:pt x="467360" y="894080"/>
                </a:cubicBezTo>
                <a:cubicBezTo>
                  <a:pt x="479685" y="885277"/>
                  <a:pt x="494453" y="880533"/>
                  <a:pt x="508000" y="873760"/>
                </a:cubicBezTo>
                <a:cubicBezTo>
                  <a:pt x="545600" y="798560"/>
                  <a:pt x="507313" y="864424"/>
                  <a:pt x="558800" y="802640"/>
                </a:cubicBezTo>
                <a:cubicBezTo>
                  <a:pt x="566617" y="793259"/>
                  <a:pt x="571008" y="781286"/>
                  <a:pt x="579120" y="772160"/>
                </a:cubicBezTo>
                <a:cubicBezTo>
                  <a:pt x="637835" y="706105"/>
                  <a:pt x="637285" y="717071"/>
                  <a:pt x="701040" y="660400"/>
                </a:cubicBezTo>
                <a:cubicBezTo>
                  <a:pt x="711779" y="650854"/>
                  <a:pt x="720611" y="639271"/>
                  <a:pt x="731520" y="629920"/>
                </a:cubicBezTo>
                <a:cubicBezTo>
                  <a:pt x="779592" y="588716"/>
                  <a:pt x="759756" y="611283"/>
                  <a:pt x="802640" y="579120"/>
                </a:cubicBezTo>
                <a:cubicBezTo>
                  <a:pt x="819988" y="566109"/>
                  <a:pt x="835397" y="550509"/>
                  <a:pt x="853440" y="538480"/>
                </a:cubicBezTo>
                <a:cubicBezTo>
                  <a:pt x="900444" y="507144"/>
                  <a:pt x="881985" y="527352"/>
                  <a:pt x="924560" y="508000"/>
                </a:cubicBezTo>
                <a:cubicBezTo>
                  <a:pt x="1039167" y="455906"/>
                  <a:pt x="966847" y="477108"/>
                  <a:pt x="1046480" y="457200"/>
                </a:cubicBezTo>
                <a:cubicBezTo>
                  <a:pt x="1077091" y="436793"/>
                  <a:pt x="1081507" y="432029"/>
                  <a:pt x="1117600" y="416560"/>
                </a:cubicBezTo>
                <a:cubicBezTo>
                  <a:pt x="1144936" y="404844"/>
                  <a:pt x="1169063" y="402203"/>
                  <a:pt x="1198880" y="396240"/>
                </a:cubicBezTo>
                <a:cubicBezTo>
                  <a:pt x="1298666" y="346347"/>
                  <a:pt x="1161891" y="409099"/>
                  <a:pt x="1320800" y="365760"/>
                </a:cubicBezTo>
                <a:cubicBezTo>
                  <a:pt x="1332581" y="362547"/>
                  <a:pt x="1340057" y="350250"/>
                  <a:pt x="1351280" y="345440"/>
                </a:cubicBezTo>
                <a:cubicBezTo>
                  <a:pt x="1376749" y="334525"/>
                  <a:pt x="1443957" y="328590"/>
                  <a:pt x="1463040" y="325120"/>
                </a:cubicBezTo>
                <a:cubicBezTo>
                  <a:pt x="1476778" y="322622"/>
                  <a:pt x="1490049" y="317989"/>
                  <a:pt x="1503680" y="314960"/>
                </a:cubicBezTo>
                <a:cubicBezTo>
                  <a:pt x="1520537" y="311214"/>
                  <a:pt x="1537727" y="308988"/>
                  <a:pt x="1554480" y="304800"/>
                </a:cubicBezTo>
                <a:cubicBezTo>
                  <a:pt x="1564870" y="302203"/>
                  <a:pt x="1574570" y="297237"/>
                  <a:pt x="1584960" y="294640"/>
                </a:cubicBezTo>
                <a:cubicBezTo>
                  <a:pt x="1628547" y="283743"/>
                  <a:pt x="1651429" y="283378"/>
                  <a:pt x="1696720" y="274320"/>
                </a:cubicBezTo>
                <a:cubicBezTo>
                  <a:pt x="1757589" y="262146"/>
                  <a:pt x="1721083" y="266199"/>
                  <a:pt x="1788160" y="243840"/>
                </a:cubicBezTo>
                <a:cubicBezTo>
                  <a:pt x="1838817" y="226954"/>
                  <a:pt x="1829732" y="238527"/>
                  <a:pt x="1889760" y="223520"/>
                </a:cubicBezTo>
                <a:cubicBezTo>
                  <a:pt x="1993432" y="197602"/>
                  <a:pt x="1910732" y="209166"/>
                  <a:pt x="1991360" y="193040"/>
                </a:cubicBezTo>
                <a:cubicBezTo>
                  <a:pt x="2011560" y="189000"/>
                  <a:pt x="2032415" y="188188"/>
                  <a:pt x="2052320" y="182880"/>
                </a:cubicBezTo>
                <a:cubicBezTo>
                  <a:pt x="2083364" y="174602"/>
                  <a:pt x="2113280" y="162560"/>
                  <a:pt x="2143760" y="152400"/>
                </a:cubicBezTo>
                <a:lnTo>
                  <a:pt x="2204720" y="132080"/>
                </a:lnTo>
                <a:cubicBezTo>
                  <a:pt x="2214880" y="128693"/>
                  <a:pt x="2224810" y="124517"/>
                  <a:pt x="2235200" y="121920"/>
                </a:cubicBezTo>
                <a:lnTo>
                  <a:pt x="2275840" y="111760"/>
                </a:lnTo>
                <a:cubicBezTo>
                  <a:pt x="2363191" y="53526"/>
                  <a:pt x="2252672" y="123344"/>
                  <a:pt x="2336800" y="81280"/>
                </a:cubicBezTo>
                <a:cubicBezTo>
                  <a:pt x="2347722" y="75819"/>
                  <a:pt x="2355804" y="65133"/>
                  <a:pt x="2367280" y="60960"/>
                </a:cubicBezTo>
                <a:cubicBezTo>
                  <a:pt x="2393526" y="51416"/>
                  <a:pt x="2422066" y="49471"/>
                  <a:pt x="2448560" y="40640"/>
                </a:cubicBezTo>
                <a:cubicBezTo>
                  <a:pt x="2458720" y="37253"/>
                  <a:pt x="2468708" y="33298"/>
                  <a:pt x="2479040" y="30480"/>
                </a:cubicBezTo>
                <a:cubicBezTo>
                  <a:pt x="2546438" y="12099"/>
                  <a:pt x="2551878" y="11848"/>
                  <a:pt x="2611120" y="0"/>
                </a:cubicBezTo>
                <a:lnTo>
                  <a:pt x="3251200" y="10160"/>
                </a:lnTo>
                <a:cubicBezTo>
                  <a:pt x="3265157" y="10577"/>
                  <a:pt x="3277895" y="19605"/>
                  <a:pt x="3291840" y="20320"/>
                </a:cubicBezTo>
                <a:cubicBezTo>
                  <a:pt x="3410266" y="26393"/>
                  <a:pt x="3528907" y="27093"/>
                  <a:pt x="3647440" y="30480"/>
                </a:cubicBezTo>
                <a:cubicBezTo>
                  <a:pt x="3715271" y="35698"/>
                  <a:pt x="3811262" y="42068"/>
                  <a:pt x="3881120" y="50800"/>
                </a:cubicBezTo>
                <a:cubicBezTo>
                  <a:pt x="3905131" y="53801"/>
                  <a:pt x="3956476" y="62372"/>
                  <a:pt x="3982720" y="71120"/>
                </a:cubicBezTo>
                <a:cubicBezTo>
                  <a:pt x="4000022" y="76887"/>
                  <a:pt x="4016218" y="85673"/>
                  <a:pt x="4033520" y="91440"/>
                </a:cubicBezTo>
                <a:cubicBezTo>
                  <a:pt x="4046767" y="95856"/>
                  <a:pt x="4060785" y="97588"/>
                  <a:pt x="4074160" y="101600"/>
                </a:cubicBezTo>
                <a:cubicBezTo>
                  <a:pt x="4094676" y="107755"/>
                  <a:pt x="4114456" y="116284"/>
                  <a:pt x="4135120" y="121920"/>
                </a:cubicBezTo>
                <a:cubicBezTo>
                  <a:pt x="4151780" y="126464"/>
                  <a:pt x="4169167" y="127892"/>
                  <a:pt x="4185920" y="132080"/>
                </a:cubicBezTo>
                <a:cubicBezTo>
                  <a:pt x="4196310" y="134677"/>
                  <a:pt x="4206556" y="138021"/>
                  <a:pt x="4216400" y="142240"/>
                </a:cubicBezTo>
                <a:cubicBezTo>
                  <a:pt x="4230321" y="148206"/>
                  <a:pt x="4241939" y="161398"/>
                  <a:pt x="4257040" y="162560"/>
                </a:cubicBezTo>
                <a:cubicBezTo>
                  <a:pt x="4375272" y="171655"/>
                  <a:pt x="4494107" y="169333"/>
                  <a:pt x="4612640" y="172720"/>
                </a:cubicBezTo>
                <a:cubicBezTo>
                  <a:pt x="4683499" y="184530"/>
                  <a:pt x="4754528" y="195677"/>
                  <a:pt x="4826000" y="203200"/>
                </a:cubicBezTo>
                <a:cubicBezTo>
                  <a:pt x="4863201" y="207116"/>
                  <a:pt x="4900507" y="209973"/>
                  <a:pt x="4937760" y="213360"/>
                </a:cubicBezTo>
                <a:cubicBezTo>
                  <a:pt x="5122669" y="250342"/>
                  <a:pt x="4842537" y="188392"/>
                  <a:pt x="5039360" y="254000"/>
                </a:cubicBezTo>
                <a:cubicBezTo>
                  <a:pt x="5062078" y="261573"/>
                  <a:pt x="5086826" y="260425"/>
                  <a:pt x="5110480" y="264160"/>
                </a:cubicBezTo>
                <a:cubicBezTo>
                  <a:pt x="5151176" y="270586"/>
                  <a:pt x="5192181" y="275542"/>
                  <a:pt x="5232400" y="284480"/>
                </a:cubicBezTo>
                <a:cubicBezTo>
                  <a:pt x="5253309" y="289126"/>
                  <a:pt x="5272696" y="299164"/>
                  <a:pt x="5293360" y="304800"/>
                </a:cubicBezTo>
                <a:cubicBezTo>
                  <a:pt x="5310020" y="309344"/>
                  <a:pt x="5327227" y="311573"/>
                  <a:pt x="5344160" y="314960"/>
                </a:cubicBezTo>
                <a:cubicBezTo>
                  <a:pt x="5361093" y="325120"/>
                  <a:pt x="5377297" y="336609"/>
                  <a:pt x="5394960" y="345440"/>
                </a:cubicBezTo>
                <a:cubicBezTo>
                  <a:pt x="5404539" y="350229"/>
                  <a:pt x="5415861" y="350811"/>
                  <a:pt x="5425440" y="355600"/>
                </a:cubicBezTo>
                <a:cubicBezTo>
                  <a:pt x="5436362" y="361061"/>
                  <a:pt x="5444762" y="370961"/>
                  <a:pt x="5455920" y="375920"/>
                </a:cubicBezTo>
                <a:cubicBezTo>
                  <a:pt x="5487723" y="390055"/>
                  <a:pt x="5523744" y="397956"/>
                  <a:pt x="5557520" y="406400"/>
                </a:cubicBezTo>
                <a:cubicBezTo>
                  <a:pt x="5615300" y="464180"/>
                  <a:pt x="5559665" y="417633"/>
                  <a:pt x="5618480" y="447040"/>
                </a:cubicBezTo>
                <a:cubicBezTo>
                  <a:pt x="5697262" y="486431"/>
                  <a:pt x="5602828" y="451983"/>
                  <a:pt x="5679440" y="477520"/>
                </a:cubicBezTo>
                <a:cubicBezTo>
                  <a:pt x="5726043" y="516356"/>
                  <a:pt x="5739763" y="533082"/>
                  <a:pt x="5791200" y="558800"/>
                </a:cubicBezTo>
                <a:cubicBezTo>
                  <a:pt x="5800779" y="563589"/>
                  <a:pt x="5811520" y="565573"/>
                  <a:pt x="5821680" y="568960"/>
                </a:cubicBezTo>
                <a:cubicBezTo>
                  <a:pt x="5838613" y="585893"/>
                  <a:pt x="5852277" y="606903"/>
                  <a:pt x="5872480" y="619760"/>
                </a:cubicBezTo>
                <a:cubicBezTo>
                  <a:pt x="5890551" y="631259"/>
                  <a:pt x="5933440" y="640080"/>
                  <a:pt x="5933440" y="640080"/>
                </a:cubicBezTo>
                <a:cubicBezTo>
                  <a:pt x="5946987" y="653627"/>
                  <a:pt x="5958491" y="669585"/>
                  <a:pt x="5974080" y="680720"/>
                </a:cubicBezTo>
                <a:cubicBezTo>
                  <a:pt x="5982795" y="686945"/>
                  <a:pt x="5998335" y="682165"/>
                  <a:pt x="6004560" y="690880"/>
                </a:cubicBezTo>
                <a:cubicBezTo>
                  <a:pt x="6017010" y="708309"/>
                  <a:pt x="6013860" y="733473"/>
                  <a:pt x="6024880" y="751840"/>
                </a:cubicBezTo>
                <a:cubicBezTo>
                  <a:pt x="6055284" y="802514"/>
                  <a:pt x="6051032" y="804736"/>
                  <a:pt x="6096000" y="843280"/>
                </a:cubicBezTo>
                <a:cubicBezTo>
                  <a:pt x="6105271" y="851227"/>
                  <a:pt x="6117846" y="854966"/>
                  <a:pt x="6126480" y="863600"/>
                </a:cubicBezTo>
                <a:cubicBezTo>
                  <a:pt x="6181839" y="918959"/>
                  <a:pt x="6129225" y="894995"/>
                  <a:pt x="6187440" y="914400"/>
                </a:cubicBezTo>
                <a:cubicBezTo>
                  <a:pt x="6197600" y="924560"/>
                  <a:pt x="6208722" y="933842"/>
                  <a:pt x="6217920" y="944880"/>
                </a:cubicBezTo>
                <a:cubicBezTo>
                  <a:pt x="6246765" y="979493"/>
                  <a:pt x="6232118" y="979398"/>
                  <a:pt x="6268720" y="1016000"/>
                </a:cubicBezTo>
                <a:cubicBezTo>
                  <a:pt x="6277354" y="1024634"/>
                  <a:pt x="6289040" y="1029547"/>
                  <a:pt x="6299200" y="1036320"/>
                </a:cubicBezTo>
                <a:cubicBezTo>
                  <a:pt x="6320688" y="1122273"/>
                  <a:pt x="6291416" y="1034803"/>
                  <a:pt x="6339840" y="1107440"/>
                </a:cubicBezTo>
                <a:cubicBezTo>
                  <a:pt x="6345781" y="1116351"/>
                  <a:pt x="6344687" y="1128621"/>
                  <a:pt x="6350000" y="1137920"/>
                </a:cubicBezTo>
                <a:cubicBezTo>
                  <a:pt x="6358401" y="1152622"/>
                  <a:pt x="6370320" y="1165013"/>
                  <a:pt x="6380480" y="1178560"/>
                </a:cubicBezTo>
                <a:cubicBezTo>
                  <a:pt x="6417533" y="1289720"/>
                  <a:pt x="6358439" y="1121347"/>
                  <a:pt x="6410960" y="1239520"/>
                </a:cubicBezTo>
                <a:cubicBezTo>
                  <a:pt x="6457641" y="1344553"/>
                  <a:pt x="6401821" y="1261202"/>
                  <a:pt x="6461760" y="1341120"/>
                </a:cubicBezTo>
                <a:cubicBezTo>
                  <a:pt x="6467561" y="1370124"/>
                  <a:pt x="6473471" y="1403863"/>
                  <a:pt x="6482080" y="1432560"/>
                </a:cubicBezTo>
                <a:cubicBezTo>
                  <a:pt x="6488235" y="1453076"/>
                  <a:pt x="6495627" y="1473200"/>
                  <a:pt x="6502400" y="1493520"/>
                </a:cubicBezTo>
                <a:cubicBezTo>
                  <a:pt x="6505787" y="1503680"/>
                  <a:pt x="6510460" y="1513498"/>
                  <a:pt x="6512560" y="1524000"/>
                </a:cubicBezTo>
                <a:cubicBezTo>
                  <a:pt x="6525115" y="1586774"/>
                  <a:pt x="6513141" y="1560432"/>
                  <a:pt x="6543040" y="1605280"/>
                </a:cubicBezTo>
                <a:cubicBezTo>
                  <a:pt x="6539653" y="1679787"/>
                  <a:pt x="6545141" y="1755231"/>
                  <a:pt x="6532880" y="1828800"/>
                </a:cubicBezTo>
                <a:cubicBezTo>
                  <a:pt x="6530873" y="1840845"/>
                  <a:pt x="6514583" y="1848289"/>
                  <a:pt x="6502400" y="1849120"/>
                </a:cubicBezTo>
                <a:cubicBezTo>
                  <a:pt x="6363827" y="1858568"/>
                  <a:pt x="6224693" y="1855893"/>
                  <a:pt x="6085840" y="1859280"/>
                </a:cubicBezTo>
                <a:cubicBezTo>
                  <a:pt x="6072293" y="1862667"/>
                  <a:pt x="6058626" y="1865604"/>
                  <a:pt x="6045200" y="1869440"/>
                </a:cubicBezTo>
                <a:cubicBezTo>
                  <a:pt x="6034902" y="1872382"/>
                  <a:pt x="6025175" y="1877277"/>
                  <a:pt x="6014720" y="1879600"/>
                </a:cubicBezTo>
                <a:cubicBezTo>
                  <a:pt x="5989346" y="1885239"/>
                  <a:pt x="5905326" y="1896679"/>
                  <a:pt x="5882640" y="1899920"/>
                </a:cubicBezTo>
                <a:cubicBezTo>
                  <a:pt x="5814907" y="1896533"/>
                  <a:pt x="5747024" y="1895392"/>
                  <a:pt x="5679440" y="1889760"/>
                </a:cubicBezTo>
                <a:cubicBezTo>
                  <a:pt x="5665525" y="1888600"/>
                  <a:pt x="5650924" y="1886528"/>
                  <a:pt x="5638800" y="1879600"/>
                </a:cubicBezTo>
                <a:cubicBezTo>
                  <a:pt x="5626325" y="1872471"/>
                  <a:pt x="5619358" y="1858318"/>
                  <a:pt x="5608320" y="1849120"/>
                </a:cubicBezTo>
                <a:cubicBezTo>
                  <a:pt x="5598939" y="1841303"/>
                  <a:pt x="5588000" y="1835573"/>
                  <a:pt x="5577840" y="1828800"/>
                </a:cubicBezTo>
                <a:cubicBezTo>
                  <a:pt x="5571067" y="1818640"/>
                  <a:pt x="5567055" y="1805948"/>
                  <a:pt x="5557520" y="1798320"/>
                </a:cubicBezTo>
                <a:cubicBezTo>
                  <a:pt x="5549157" y="1791630"/>
                  <a:pt x="5534613" y="1795733"/>
                  <a:pt x="5527040" y="1788160"/>
                </a:cubicBezTo>
                <a:cubicBezTo>
                  <a:pt x="5519467" y="1780587"/>
                  <a:pt x="5523570" y="1766043"/>
                  <a:pt x="5516880" y="1757680"/>
                </a:cubicBezTo>
                <a:cubicBezTo>
                  <a:pt x="5502556" y="1739775"/>
                  <a:pt x="5475999" y="1733893"/>
                  <a:pt x="5455920" y="1727200"/>
                </a:cubicBezTo>
                <a:cubicBezTo>
                  <a:pt x="5445760" y="1717040"/>
                  <a:pt x="5433410" y="1708675"/>
                  <a:pt x="5425440" y="1696720"/>
                </a:cubicBezTo>
                <a:cubicBezTo>
                  <a:pt x="5419499" y="1687809"/>
                  <a:pt x="5422853" y="1673813"/>
                  <a:pt x="5415280" y="1666240"/>
                </a:cubicBezTo>
                <a:cubicBezTo>
                  <a:pt x="5404570" y="1655530"/>
                  <a:pt x="5387790" y="1653434"/>
                  <a:pt x="5374640" y="1645920"/>
                </a:cubicBezTo>
                <a:cubicBezTo>
                  <a:pt x="5364038" y="1639862"/>
                  <a:pt x="5354320" y="1632373"/>
                  <a:pt x="5344160" y="1625600"/>
                </a:cubicBezTo>
                <a:cubicBezTo>
                  <a:pt x="5337387" y="1615440"/>
                  <a:pt x="5332474" y="1603754"/>
                  <a:pt x="5323840" y="1595120"/>
                </a:cubicBezTo>
                <a:cubicBezTo>
                  <a:pt x="5287238" y="1558518"/>
                  <a:pt x="5287333" y="1573165"/>
                  <a:pt x="5252720" y="1544320"/>
                </a:cubicBezTo>
                <a:cubicBezTo>
                  <a:pt x="5241682" y="1535122"/>
                  <a:pt x="5234195" y="1521810"/>
                  <a:pt x="5222240" y="1513840"/>
                </a:cubicBezTo>
                <a:cubicBezTo>
                  <a:pt x="5213329" y="1507899"/>
                  <a:pt x="5201122" y="1508881"/>
                  <a:pt x="5191760" y="1503680"/>
                </a:cubicBezTo>
                <a:cubicBezTo>
                  <a:pt x="5170412" y="1491820"/>
                  <a:pt x="5153968" y="1470763"/>
                  <a:pt x="5130800" y="1463040"/>
                </a:cubicBezTo>
                <a:lnTo>
                  <a:pt x="5069840" y="1442720"/>
                </a:lnTo>
                <a:cubicBezTo>
                  <a:pt x="5063067" y="1432560"/>
                  <a:pt x="5059680" y="1419013"/>
                  <a:pt x="5049520" y="1412240"/>
                </a:cubicBezTo>
                <a:cubicBezTo>
                  <a:pt x="5037902" y="1404494"/>
                  <a:pt x="5021715" y="1407581"/>
                  <a:pt x="5008880" y="1402080"/>
                </a:cubicBezTo>
                <a:cubicBezTo>
                  <a:pt x="4997657" y="1397270"/>
                  <a:pt x="4989833" y="1386047"/>
                  <a:pt x="4978400" y="1381760"/>
                </a:cubicBezTo>
                <a:cubicBezTo>
                  <a:pt x="4962231" y="1375697"/>
                  <a:pt x="4944260" y="1376144"/>
                  <a:pt x="4927600" y="1371600"/>
                </a:cubicBezTo>
                <a:cubicBezTo>
                  <a:pt x="4906936" y="1365964"/>
                  <a:pt x="4884462" y="1363161"/>
                  <a:pt x="4866640" y="1351280"/>
                </a:cubicBezTo>
                <a:cubicBezTo>
                  <a:pt x="4826609" y="1324593"/>
                  <a:pt x="4833235" y="1325149"/>
                  <a:pt x="4775200" y="1310640"/>
                </a:cubicBezTo>
                <a:cubicBezTo>
                  <a:pt x="4747606" y="1303742"/>
                  <a:pt x="4711400" y="1294005"/>
                  <a:pt x="4683760" y="1290320"/>
                </a:cubicBezTo>
                <a:cubicBezTo>
                  <a:pt x="4650023" y="1285822"/>
                  <a:pt x="4616027" y="1283547"/>
                  <a:pt x="4582160" y="1280160"/>
                </a:cubicBezTo>
                <a:cubicBezTo>
                  <a:pt x="4450031" y="1236117"/>
                  <a:pt x="4695569" y="1321533"/>
                  <a:pt x="4511040" y="1239520"/>
                </a:cubicBezTo>
                <a:cubicBezTo>
                  <a:pt x="4495260" y="1232507"/>
                  <a:pt x="4476900" y="1233904"/>
                  <a:pt x="4460240" y="1229360"/>
                </a:cubicBezTo>
                <a:cubicBezTo>
                  <a:pt x="4439576" y="1223724"/>
                  <a:pt x="4420484" y="1212069"/>
                  <a:pt x="4399280" y="1209040"/>
                </a:cubicBezTo>
                <a:lnTo>
                  <a:pt x="4328160" y="1198880"/>
                </a:lnTo>
                <a:cubicBezTo>
                  <a:pt x="4277849" y="1192591"/>
                  <a:pt x="4225590" y="1189633"/>
                  <a:pt x="4175760" y="1178560"/>
                </a:cubicBezTo>
                <a:cubicBezTo>
                  <a:pt x="4156892" y="1174367"/>
                  <a:pt x="4105986" y="1152395"/>
                  <a:pt x="4094480" y="1148080"/>
                </a:cubicBezTo>
                <a:cubicBezTo>
                  <a:pt x="4084452" y="1144320"/>
                  <a:pt x="4074660" y="1138952"/>
                  <a:pt x="4064000" y="1137920"/>
                </a:cubicBezTo>
                <a:cubicBezTo>
                  <a:pt x="3969374" y="1128763"/>
                  <a:pt x="3779520" y="1117600"/>
                  <a:pt x="3779520" y="1117600"/>
                </a:cubicBezTo>
                <a:lnTo>
                  <a:pt x="3373120" y="1127760"/>
                </a:lnTo>
                <a:cubicBezTo>
                  <a:pt x="3355868" y="1128527"/>
                  <a:pt x="3339177" y="1134174"/>
                  <a:pt x="3322320" y="1137920"/>
                </a:cubicBezTo>
                <a:cubicBezTo>
                  <a:pt x="3308689" y="1140949"/>
                  <a:pt x="3294927" y="1143664"/>
                  <a:pt x="3281680" y="1148080"/>
                </a:cubicBezTo>
                <a:cubicBezTo>
                  <a:pt x="3214603" y="1170439"/>
                  <a:pt x="3251109" y="1166386"/>
                  <a:pt x="3190240" y="1178560"/>
                </a:cubicBezTo>
                <a:cubicBezTo>
                  <a:pt x="3161197" y="1184369"/>
                  <a:pt x="3108446" y="1190707"/>
                  <a:pt x="3078480" y="1198880"/>
                </a:cubicBezTo>
                <a:cubicBezTo>
                  <a:pt x="3057816" y="1204516"/>
                  <a:pt x="3038464" y="1214712"/>
                  <a:pt x="3017520" y="1219200"/>
                </a:cubicBezTo>
                <a:cubicBezTo>
                  <a:pt x="2942916" y="1235186"/>
                  <a:pt x="2952229" y="1220644"/>
                  <a:pt x="2895600" y="1239520"/>
                </a:cubicBezTo>
                <a:cubicBezTo>
                  <a:pt x="2878298" y="1245287"/>
                  <a:pt x="2862395" y="1255041"/>
                  <a:pt x="2844800" y="1259840"/>
                </a:cubicBezTo>
                <a:cubicBezTo>
                  <a:pt x="2824926" y="1265260"/>
                  <a:pt x="2804260" y="1267277"/>
                  <a:pt x="2783840" y="1270000"/>
                </a:cubicBezTo>
                <a:cubicBezTo>
                  <a:pt x="2640377" y="1289128"/>
                  <a:pt x="2592220" y="1283738"/>
                  <a:pt x="2407920" y="1290320"/>
                </a:cubicBezTo>
                <a:cubicBezTo>
                  <a:pt x="2390987" y="1293707"/>
                  <a:pt x="2373977" y="1296734"/>
                  <a:pt x="2357120" y="1300480"/>
                </a:cubicBezTo>
                <a:cubicBezTo>
                  <a:pt x="2321704" y="1308350"/>
                  <a:pt x="2293062" y="1319094"/>
                  <a:pt x="2255520" y="1320800"/>
                </a:cubicBezTo>
                <a:cubicBezTo>
                  <a:pt x="2201389" y="1323260"/>
                  <a:pt x="2147147" y="1320800"/>
                  <a:pt x="2123440" y="134112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1A2B6D97-7F9A-43A8-BFD0-4964AED4FB69}"/>
              </a:ext>
            </a:extLst>
          </p:cNvPr>
          <p:cNvSpPr/>
          <p:nvPr/>
        </p:nvSpPr>
        <p:spPr>
          <a:xfrm rot="21367608">
            <a:off x="802640" y="3525520"/>
            <a:ext cx="8046720" cy="2763520"/>
          </a:xfrm>
          <a:custGeom>
            <a:avLst/>
            <a:gdLst>
              <a:gd name="connsiteX0" fmla="*/ 815475 w 7257624"/>
              <a:gd name="connsiteY0" fmla="*/ 365760 h 2763520"/>
              <a:gd name="connsiteX1" fmla="*/ 398915 w 7257624"/>
              <a:gd name="connsiteY1" fmla="*/ 365760 h 2763520"/>
              <a:gd name="connsiteX2" fmla="*/ 317635 w 7257624"/>
              <a:gd name="connsiteY2" fmla="*/ 386080 h 2763520"/>
              <a:gd name="connsiteX3" fmla="*/ 287155 w 7257624"/>
              <a:gd name="connsiteY3" fmla="*/ 406400 h 2763520"/>
              <a:gd name="connsiteX4" fmla="*/ 246515 w 7257624"/>
              <a:gd name="connsiteY4" fmla="*/ 426720 h 2763520"/>
              <a:gd name="connsiteX5" fmla="*/ 175395 w 7257624"/>
              <a:gd name="connsiteY5" fmla="*/ 467360 h 2763520"/>
              <a:gd name="connsiteX6" fmla="*/ 114435 w 7257624"/>
              <a:gd name="connsiteY6" fmla="*/ 487680 h 2763520"/>
              <a:gd name="connsiteX7" fmla="*/ 53475 w 7257624"/>
              <a:gd name="connsiteY7" fmla="*/ 579120 h 2763520"/>
              <a:gd name="connsiteX8" fmla="*/ 33155 w 7257624"/>
              <a:gd name="connsiteY8" fmla="*/ 609600 h 2763520"/>
              <a:gd name="connsiteX9" fmla="*/ 12835 w 7257624"/>
              <a:gd name="connsiteY9" fmla="*/ 670560 h 2763520"/>
              <a:gd name="connsiteX10" fmla="*/ 12835 w 7257624"/>
              <a:gd name="connsiteY10" fmla="*/ 944880 h 2763520"/>
              <a:gd name="connsiteX11" fmla="*/ 43315 w 7257624"/>
              <a:gd name="connsiteY11" fmla="*/ 1046480 h 2763520"/>
              <a:gd name="connsiteX12" fmla="*/ 73795 w 7257624"/>
              <a:gd name="connsiteY12" fmla="*/ 1076960 h 2763520"/>
              <a:gd name="connsiteX13" fmla="*/ 83955 w 7257624"/>
              <a:gd name="connsiteY13" fmla="*/ 1137920 h 2763520"/>
              <a:gd name="connsiteX14" fmla="*/ 104275 w 7257624"/>
              <a:gd name="connsiteY14" fmla="*/ 1168400 h 2763520"/>
              <a:gd name="connsiteX15" fmla="*/ 114435 w 7257624"/>
              <a:gd name="connsiteY15" fmla="*/ 1198880 h 2763520"/>
              <a:gd name="connsiteX16" fmla="*/ 134755 w 7257624"/>
              <a:gd name="connsiteY16" fmla="*/ 1239520 h 2763520"/>
              <a:gd name="connsiteX17" fmla="*/ 144915 w 7257624"/>
              <a:gd name="connsiteY17" fmla="*/ 1280160 h 2763520"/>
              <a:gd name="connsiteX18" fmla="*/ 155075 w 7257624"/>
              <a:gd name="connsiteY18" fmla="*/ 1341120 h 2763520"/>
              <a:gd name="connsiteX19" fmla="*/ 246515 w 7257624"/>
              <a:gd name="connsiteY19" fmla="*/ 1422400 h 2763520"/>
              <a:gd name="connsiteX20" fmla="*/ 266835 w 7257624"/>
              <a:gd name="connsiteY20" fmla="*/ 1473200 h 2763520"/>
              <a:gd name="connsiteX21" fmla="*/ 317635 w 7257624"/>
              <a:gd name="connsiteY21" fmla="*/ 1534160 h 2763520"/>
              <a:gd name="connsiteX22" fmla="*/ 358275 w 7257624"/>
              <a:gd name="connsiteY22" fmla="*/ 1584960 h 2763520"/>
              <a:gd name="connsiteX23" fmla="*/ 378595 w 7257624"/>
              <a:gd name="connsiteY23" fmla="*/ 1615440 h 2763520"/>
              <a:gd name="connsiteX24" fmla="*/ 409075 w 7257624"/>
              <a:gd name="connsiteY24" fmla="*/ 1645920 h 2763520"/>
              <a:gd name="connsiteX25" fmla="*/ 449715 w 7257624"/>
              <a:gd name="connsiteY25" fmla="*/ 1706880 h 2763520"/>
              <a:gd name="connsiteX26" fmla="*/ 480195 w 7257624"/>
              <a:gd name="connsiteY26" fmla="*/ 1767840 h 2763520"/>
              <a:gd name="connsiteX27" fmla="*/ 510675 w 7257624"/>
              <a:gd name="connsiteY27" fmla="*/ 1778000 h 2763520"/>
              <a:gd name="connsiteX28" fmla="*/ 571635 w 7257624"/>
              <a:gd name="connsiteY28" fmla="*/ 1828800 h 2763520"/>
              <a:gd name="connsiteX29" fmla="*/ 632595 w 7257624"/>
              <a:gd name="connsiteY29" fmla="*/ 1859280 h 2763520"/>
              <a:gd name="connsiteX30" fmla="*/ 693555 w 7257624"/>
              <a:gd name="connsiteY30" fmla="*/ 1899920 h 2763520"/>
              <a:gd name="connsiteX31" fmla="*/ 744355 w 7257624"/>
              <a:gd name="connsiteY31" fmla="*/ 1940560 h 2763520"/>
              <a:gd name="connsiteX32" fmla="*/ 805315 w 7257624"/>
              <a:gd name="connsiteY32" fmla="*/ 1981200 h 2763520"/>
              <a:gd name="connsiteX33" fmla="*/ 886595 w 7257624"/>
              <a:gd name="connsiteY33" fmla="*/ 2032000 h 2763520"/>
              <a:gd name="connsiteX34" fmla="*/ 1008515 w 7257624"/>
              <a:gd name="connsiteY34" fmla="*/ 2113280 h 2763520"/>
              <a:gd name="connsiteX35" fmla="*/ 1038995 w 7257624"/>
              <a:gd name="connsiteY35" fmla="*/ 2133600 h 2763520"/>
              <a:gd name="connsiteX36" fmla="*/ 1099955 w 7257624"/>
              <a:gd name="connsiteY36" fmla="*/ 2153920 h 2763520"/>
              <a:gd name="connsiteX37" fmla="*/ 1120275 w 7257624"/>
              <a:gd name="connsiteY37" fmla="*/ 2184400 h 2763520"/>
              <a:gd name="connsiteX38" fmla="*/ 1181235 w 7257624"/>
              <a:gd name="connsiteY38" fmla="*/ 2204720 h 2763520"/>
              <a:gd name="connsiteX39" fmla="*/ 1292995 w 7257624"/>
              <a:gd name="connsiteY39" fmla="*/ 2225040 h 2763520"/>
              <a:gd name="connsiteX40" fmla="*/ 1394595 w 7257624"/>
              <a:gd name="connsiteY40" fmla="*/ 2235200 h 2763520"/>
              <a:gd name="connsiteX41" fmla="*/ 1465715 w 7257624"/>
              <a:gd name="connsiteY41" fmla="*/ 2255520 h 2763520"/>
              <a:gd name="connsiteX42" fmla="*/ 1577475 w 7257624"/>
              <a:gd name="connsiteY42" fmla="*/ 2286000 h 2763520"/>
              <a:gd name="connsiteX43" fmla="*/ 1638435 w 7257624"/>
              <a:gd name="connsiteY43" fmla="*/ 2296160 h 2763520"/>
              <a:gd name="connsiteX44" fmla="*/ 1679075 w 7257624"/>
              <a:gd name="connsiteY44" fmla="*/ 2316480 h 2763520"/>
              <a:gd name="connsiteX45" fmla="*/ 1780675 w 7257624"/>
              <a:gd name="connsiteY45" fmla="*/ 2346960 h 2763520"/>
              <a:gd name="connsiteX46" fmla="*/ 1821315 w 7257624"/>
              <a:gd name="connsiteY46" fmla="*/ 2367280 h 2763520"/>
              <a:gd name="connsiteX47" fmla="*/ 1892435 w 7257624"/>
              <a:gd name="connsiteY47" fmla="*/ 2377440 h 2763520"/>
              <a:gd name="connsiteX48" fmla="*/ 1933075 w 7257624"/>
              <a:gd name="connsiteY48" fmla="*/ 2387600 h 2763520"/>
              <a:gd name="connsiteX49" fmla="*/ 2095635 w 7257624"/>
              <a:gd name="connsiteY49" fmla="*/ 2397760 h 2763520"/>
              <a:gd name="connsiteX50" fmla="*/ 2288675 w 7257624"/>
              <a:gd name="connsiteY50" fmla="*/ 2428240 h 2763520"/>
              <a:gd name="connsiteX51" fmla="*/ 2288675 w 7257624"/>
              <a:gd name="connsiteY51" fmla="*/ 2428240 h 2763520"/>
              <a:gd name="connsiteX52" fmla="*/ 2369955 w 7257624"/>
              <a:gd name="connsiteY52" fmla="*/ 2448560 h 2763520"/>
              <a:gd name="connsiteX53" fmla="*/ 2451235 w 7257624"/>
              <a:gd name="connsiteY53" fmla="*/ 2479040 h 2763520"/>
              <a:gd name="connsiteX54" fmla="*/ 2512195 w 7257624"/>
              <a:gd name="connsiteY54" fmla="*/ 2499360 h 2763520"/>
              <a:gd name="connsiteX55" fmla="*/ 2542675 w 7257624"/>
              <a:gd name="connsiteY55" fmla="*/ 2509520 h 2763520"/>
              <a:gd name="connsiteX56" fmla="*/ 2634115 w 7257624"/>
              <a:gd name="connsiteY56" fmla="*/ 2529840 h 2763520"/>
              <a:gd name="connsiteX57" fmla="*/ 2664595 w 7257624"/>
              <a:gd name="connsiteY57" fmla="*/ 2540000 h 2763520"/>
              <a:gd name="connsiteX58" fmla="*/ 2705235 w 7257624"/>
              <a:gd name="connsiteY58" fmla="*/ 2550160 h 2763520"/>
              <a:gd name="connsiteX59" fmla="*/ 2756035 w 7257624"/>
              <a:gd name="connsiteY59" fmla="*/ 2570480 h 2763520"/>
              <a:gd name="connsiteX60" fmla="*/ 3264035 w 7257624"/>
              <a:gd name="connsiteY60" fmla="*/ 2580640 h 2763520"/>
              <a:gd name="connsiteX61" fmla="*/ 4086995 w 7257624"/>
              <a:gd name="connsiteY61" fmla="*/ 2590800 h 2763520"/>
              <a:gd name="connsiteX62" fmla="*/ 4280035 w 7257624"/>
              <a:gd name="connsiteY62" fmla="*/ 2631440 h 2763520"/>
              <a:gd name="connsiteX63" fmla="*/ 4310515 w 7257624"/>
              <a:gd name="connsiteY63" fmla="*/ 2641600 h 2763520"/>
              <a:gd name="connsiteX64" fmla="*/ 4412115 w 7257624"/>
              <a:gd name="connsiteY64" fmla="*/ 2651760 h 2763520"/>
              <a:gd name="connsiteX65" fmla="*/ 4584835 w 7257624"/>
              <a:gd name="connsiteY65" fmla="*/ 2672080 h 2763520"/>
              <a:gd name="connsiteX66" fmla="*/ 4615315 w 7257624"/>
              <a:gd name="connsiteY66" fmla="*/ 2682240 h 2763520"/>
              <a:gd name="connsiteX67" fmla="*/ 4676275 w 7257624"/>
              <a:gd name="connsiteY67" fmla="*/ 2692400 h 2763520"/>
              <a:gd name="connsiteX68" fmla="*/ 4716915 w 7257624"/>
              <a:gd name="connsiteY68" fmla="*/ 2712720 h 2763520"/>
              <a:gd name="connsiteX69" fmla="*/ 4757555 w 7257624"/>
              <a:gd name="connsiteY69" fmla="*/ 2722880 h 2763520"/>
              <a:gd name="connsiteX70" fmla="*/ 4981075 w 7257624"/>
              <a:gd name="connsiteY70" fmla="*/ 2743200 h 2763520"/>
              <a:gd name="connsiteX71" fmla="*/ 5092835 w 7257624"/>
              <a:gd name="connsiteY71" fmla="*/ 2763520 h 2763520"/>
              <a:gd name="connsiteX72" fmla="*/ 5550035 w 7257624"/>
              <a:gd name="connsiteY72" fmla="*/ 2753360 h 2763520"/>
              <a:gd name="connsiteX73" fmla="*/ 5641475 w 7257624"/>
              <a:gd name="connsiteY73" fmla="*/ 2743200 h 2763520"/>
              <a:gd name="connsiteX74" fmla="*/ 5905635 w 7257624"/>
              <a:gd name="connsiteY74" fmla="*/ 2733040 h 2763520"/>
              <a:gd name="connsiteX75" fmla="*/ 5986915 w 7257624"/>
              <a:gd name="connsiteY75" fmla="*/ 2712720 h 2763520"/>
              <a:gd name="connsiteX76" fmla="*/ 6078355 w 7257624"/>
              <a:gd name="connsiteY76" fmla="*/ 2702560 h 2763520"/>
              <a:gd name="connsiteX77" fmla="*/ 6118995 w 7257624"/>
              <a:gd name="connsiteY77" fmla="*/ 2661920 h 2763520"/>
              <a:gd name="connsiteX78" fmla="*/ 6220595 w 7257624"/>
              <a:gd name="connsiteY78" fmla="*/ 2611120 h 2763520"/>
              <a:gd name="connsiteX79" fmla="*/ 6251075 w 7257624"/>
              <a:gd name="connsiteY79" fmla="*/ 2590800 h 2763520"/>
              <a:gd name="connsiteX80" fmla="*/ 6332355 w 7257624"/>
              <a:gd name="connsiteY80" fmla="*/ 2489200 h 2763520"/>
              <a:gd name="connsiteX81" fmla="*/ 6362835 w 7257624"/>
              <a:gd name="connsiteY81" fmla="*/ 2448560 h 2763520"/>
              <a:gd name="connsiteX82" fmla="*/ 6393315 w 7257624"/>
              <a:gd name="connsiteY82" fmla="*/ 2418080 h 2763520"/>
              <a:gd name="connsiteX83" fmla="*/ 6413635 w 7257624"/>
              <a:gd name="connsiteY83" fmla="*/ 2387600 h 2763520"/>
              <a:gd name="connsiteX84" fmla="*/ 6444115 w 7257624"/>
              <a:gd name="connsiteY84" fmla="*/ 2367280 h 2763520"/>
              <a:gd name="connsiteX85" fmla="*/ 6515235 w 7257624"/>
              <a:gd name="connsiteY85" fmla="*/ 2296160 h 2763520"/>
              <a:gd name="connsiteX86" fmla="*/ 6616835 w 7257624"/>
              <a:gd name="connsiteY86" fmla="*/ 2255520 h 2763520"/>
              <a:gd name="connsiteX87" fmla="*/ 6667635 w 7257624"/>
              <a:gd name="connsiteY87" fmla="*/ 2204720 h 2763520"/>
              <a:gd name="connsiteX88" fmla="*/ 6698115 w 7257624"/>
              <a:gd name="connsiteY88" fmla="*/ 2194560 h 2763520"/>
              <a:gd name="connsiteX89" fmla="*/ 6728595 w 7257624"/>
              <a:gd name="connsiteY89" fmla="*/ 2174240 h 2763520"/>
              <a:gd name="connsiteX90" fmla="*/ 6779395 w 7257624"/>
              <a:gd name="connsiteY90" fmla="*/ 2103120 h 2763520"/>
              <a:gd name="connsiteX91" fmla="*/ 6809875 w 7257624"/>
              <a:gd name="connsiteY91" fmla="*/ 2082800 h 2763520"/>
              <a:gd name="connsiteX92" fmla="*/ 6830195 w 7257624"/>
              <a:gd name="connsiteY92" fmla="*/ 2052320 h 2763520"/>
              <a:gd name="connsiteX93" fmla="*/ 6870835 w 7257624"/>
              <a:gd name="connsiteY93" fmla="*/ 2001520 h 2763520"/>
              <a:gd name="connsiteX94" fmla="*/ 6891155 w 7257624"/>
              <a:gd name="connsiteY94" fmla="*/ 1940560 h 2763520"/>
              <a:gd name="connsiteX95" fmla="*/ 6901315 w 7257624"/>
              <a:gd name="connsiteY95" fmla="*/ 1910080 h 2763520"/>
              <a:gd name="connsiteX96" fmla="*/ 6941955 w 7257624"/>
              <a:gd name="connsiteY96" fmla="*/ 1838960 h 2763520"/>
              <a:gd name="connsiteX97" fmla="*/ 7002915 w 7257624"/>
              <a:gd name="connsiteY97" fmla="*/ 1747520 h 2763520"/>
              <a:gd name="connsiteX98" fmla="*/ 7013075 w 7257624"/>
              <a:gd name="connsiteY98" fmla="*/ 1717040 h 2763520"/>
              <a:gd name="connsiteX99" fmla="*/ 7043555 w 7257624"/>
              <a:gd name="connsiteY99" fmla="*/ 1676400 h 2763520"/>
              <a:gd name="connsiteX100" fmla="*/ 7074035 w 7257624"/>
              <a:gd name="connsiteY100" fmla="*/ 1625600 h 2763520"/>
              <a:gd name="connsiteX101" fmla="*/ 7104515 w 7257624"/>
              <a:gd name="connsiteY101" fmla="*/ 1513840 h 2763520"/>
              <a:gd name="connsiteX102" fmla="*/ 7124835 w 7257624"/>
              <a:gd name="connsiteY102" fmla="*/ 1452880 h 2763520"/>
              <a:gd name="connsiteX103" fmla="*/ 7134995 w 7257624"/>
              <a:gd name="connsiteY103" fmla="*/ 1422400 h 2763520"/>
              <a:gd name="connsiteX104" fmla="*/ 7185795 w 7257624"/>
              <a:gd name="connsiteY104" fmla="*/ 1320800 h 2763520"/>
              <a:gd name="connsiteX105" fmla="*/ 7195955 w 7257624"/>
              <a:gd name="connsiteY105" fmla="*/ 1290320 h 2763520"/>
              <a:gd name="connsiteX106" fmla="*/ 7216275 w 7257624"/>
              <a:gd name="connsiteY106" fmla="*/ 1219200 h 2763520"/>
              <a:gd name="connsiteX107" fmla="*/ 7246755 w 7257624"/>
              <a:gd name="connsiteY107" fmla="*/ 1148080 h 2763520"/>
              <a:gd name="connsiteX108" fmla="*/ 7246755 w 7257624"/>
              <a:gd name="connsiteY108" fmla="*/ 751840 h 2763520"/>
              <a:gd name="connsiteX109" fmla="*/ 7226435 w 7257624"/>
              <a:gd name="connsiteY109" fmla="*/ 650240 h 2763520"/>
              <a:gd name="connsiteX110" fmla="*/ 7195955 w 7257624"/>
              <a:gd name="connsiteY110" fmla="*/ 375920 h 2763520"/>
              <a:gd name="connsiteX111" fmla="*/ 7175635 w 7257624"/>
              <a:gd name="connsiteY111" fmla="*/ 314960 h 2763520"/>
              <a:gd name="connsiteX112" fmla="*/ 7145155 w 7257624"/>
              <a:gd name="connsiteY112" fmla="*/ 274320 h 2763520"/>
              <a:gd name="connsiteX113" fmla="*/ 7114675 w 7257624"/>
              <a:gd name="connsiteY113" fmla="*/ 213360 h 2763520"/>
              <a:gd name="connsiteX114" fmla="*/ 7104515 w 7257624"/>
              <a:gd name="connsiteY114" fmla="*/ 182880 h 2763520"/>
              <a:gd name="connsiteX115" fmla="*/ 7033395 w 7257624"/>
              <a:gd name="connsiteY115" fmla="*/ 132080 h 2763520"/>
              <a:gd name="connsiteX116" fmla="*/ 7002915 w 7257624"/>
              <a:gd name="connsiteY116" fmla="*/ 101600 h 2763520"/>
              <a:gd name="connsiteX117" fmla="*/ 6972435 w 7257624"/>
              <a:gd name="connsiteY117" fmla="*/ 81280 h 2763520"/>
              <a:gd name="connsiteX118" fmla="*/ 6911475 w 7257624"/>
              <a:gd name="connsiteY118" fmla="*/ 30480 h 2763520"/>
              <a:gd name="connsiteX119" fmla="*/ 6799715 w 7257624"/>
              <a:gd name="connsiteY119" fmla="*/ 0 h 2763520"/>
              <a:gd name="connsiteX120" fmla="*/ 6413635 w 7257624"/>
              <a:gd name="connsiteY120" fmla="*/ 10160 h 2763520"/>
              <a:gd name="connsiteX121" fmla="*/ 6393315 w 7257624"/>
              <a:gd name="connsiteY121" fmla="*/ 40640 h 2763520"/>
              <a:gd name="connsiteX122" fmla="*/ 6362835 w 7257624"/>
              <a:gd name="connsiteY122" fmla="*/ 50800 h 2763520"/>
              <a:gd name="connsiteX123" fmla="*/ 6332355 w 7257624"/>
              <a:gd name="connsiteY123" fmla="*/ 81280 h 2763520"/>
              <a:gd name="connsiteX124" fmla="*/ 6312035 w 7257624"/>
              <a:gd name="connsiteY124" fmla="*/ 111760 h 2763520"/>
              <a:gd name="connsiteX125" fmla="*/ 6281555 w 7257624"/>
              <a:gd name="connsiteY125" fmla="*/ 121920 h 2763520"/>
              <a:gd name="connsiteX126" fmla="*/ 6251075 w 7257624"/>
              <a:gd name="connsiteY126" fmla="*/ 142240 h 2763520"/>
              <a:gd name="connsiteX127" fmla="*/ 6200275 w 7257624"/>
              <a:gd name="connsiteY127" fmla="*/ 203200 h 2763520"/>
              <a:gd name="connsiteX128" fmla="*/ 6159635 w 7257624"/>
              <a:gd name="connsiteY128" fmla="*/ 264160 h 2763520"/>
              <a:gd name="connsiteX129" fmla="*/ 6139315 w 7257624"/>
              <a:gd name="connsiteY129" fmla="*/ 294640 h 2763520"/>
              <a:gd name="connsiteX130" fmla="*/ 6118995 w 7257624"/>
              <a:gd name="connsiteY130" fmla="*/ 406400 h 2763520"/>
              <a:gd name="connsiteX131" fmla="*/ 6108835 w 7257624"/>
              <a:gd name="connsiteY131" fmla="*/ 457200 h 2763520"/>
              <a:gd name="connsiteX132" fmla="*/ 6088515 w 7257624"/>
              <a:gd name="connsiteY132" fmla="*/ 568960 h 2763520"/>
              <a:gd name="connsiteX133" fmla="*/ 6068195 w 7257624"/>
              <a:gd name="connsiteY133" fmla="*/ 609600 h 2763520"/>
              <a:gd name="connsiteX134" fmla="*/ 6058035 w 7257624"/>
              <a:gd name="connsiteY134" fmla="*/ 660400 h 2763520"/>
              <a:gd name="connsiteX135" fmla="*/ 6047875 w 7257624"/>
              <a:gd name="connsiteY135" fmla="*/ 690880 h 2763520"/>
              <a:gd name="connsiteX136" fmla="*/ 6027555 w 7257624"/>
              <a:gd name="connsiteY136" fmla="*/ 833120 h 2763520"/>
              <a:gd name="connsiteX137" fmla="*/ 6007235 w 7257624"/>
              <a:gd name="connsiteY137" fmla="*/ 924560 h 2763520"/>
              <a:gd name="connsiteX138" fmla="*/ 5997075 w 7257624"/>
              <a:gd name="connsiteY138" fmla="*/ 995680 h 2763520"/>
              <a:gd name="connsiteX139" fmla="*/ 5986915 w 7257624"/>
              <a:gd name="connsiteY139" fmla="*/ 1097280 h 2763520"/>
              <a:gd name="connsiteX140" fmla="*/ 5966595 w 7257624"/>
              <a:gd name="connsiteY140" fmla="*/ 1127760 h 2763520"/>
              <a:gd name="connsiteX141" fmla="*/ 5936115 w 7257624"/>
              <a:gd name="connsiteY141" fmla="*/ 1209040 h 2763520"/>
              <a:gd name="connsiteX142" fmla="*/ 5925955 w 7257624"/>
              <a:gd name="connsiteY142" fmla="*/ 1249680 h 2763520"/>
              <a:gd name="connsiteX143" fmla="*/ 5905635 w 7257624"/>
              <a:gd name="connsiteY143" fmla="*/ 1310640 h 2763520"/>
              <a:gd name="connsiteX144" fmla="*/ 5885315 w 7257624"/>
              <a:gd name="connsiteY144" fmla="*/ 1371600 h 2763520"/>
              <a:gd name="connsiteX145" fmla="*/ 5854835 w 7257624"/>
              <a:gd name="connsiteY145" fmla="*/ 1503680 h 2763520"/>
              <a:gd name="connsiteX146" fmla="*/ 5844675 w 7257624"/>
              <a:gd name="connsiteY146" fmla="*/ 1564640 h 2763520"/>
              <a:gd name="connsiteX147" fmla="*/ 5824355 w 7257624"/>
              <a:gd name="connsiteY147" fmla="*/ 1625600 h 2763520"/>
              <a:gd name="connsiteX148" fmla="*/ 5793875 w 7257624"/>
              <a:gd name="connsiteY148" fmla="*/ 1656080 h 2763520"/>
              <a:gd name="connsiteX149" fmla="*/ 5743075 w 7257624"/>
              <a:gd name="connsiteY149" fmla="*/ 1717040 h 2763520"/>
              <a:gd name="connsiteX150" fmla="*/ 5641475 w 7257624"/>
              <a:gd name="connsiteY150" fmla="*/ 1757680 h 2763520"/>
              <a:gd name="connsiteX151" fmla="*/ 5610995 w 7257624"/>
              <a:gd name="connsiteY151" fmla="*/ 1767840 h 2763520"/>
              <a:gd name="connsiteX152" fmla="*/ 5580515 w 7257624"/>
              <a:gd name="connsiteY152" fmla="*/ 1788160 h 2763520"/>
              <a:gd name="connsiteX153" fmla="*/ 5539875 w 7257624"/>
              <a:gd name="connsiteY153" fmla="*/ 1818640 h 2763520"/>
              <a:gd name="connsiteX154" fmla="*/ 5509395 w 7257624"/>
              <a:gd name="connsiteY154" fmla="*/ 1828800 h 2763520"/>
              <a:gd name="connsiteX155" fmla="*/ 5468755 w 7257624"/>
              <a:gd name="connsiteY155" fmla="*/ 1849120 h 2763520"/>
              <a:gd name="connsiteX156" fmla="*/ 5407795 w 7257624"/>
              <a:gd name="connsiteY156" fmla="*/ 1859280 h 2763520"/>
              <a:gd name="connsiteX157" fmla="*/ 5367155 w 7257624"/>
              <a:gd name="connsiteY157" fmla="*/ 1869440 h 2763520"/>
              <a:gd name="connsiteX158" fmla="*/ 5296035 w 7257624"/>
              <a:gd name="connsiteY158" fmla="*/ 1879600 h 2763520"/>
              <a:gd name="connsiteX159" fmla="*/ 5235075 w 7257624"/>
              <a:gd name="connsiteY159" fmla="*/ 1889760 h 2763520"/>
              <a:gd name="connsiteX160" fmla="*/ 5153795 w 7257624"/>
              <a:gd name="connsiteY160" fmla="*/ 1910080 h 2763520"/>
              <a:gd name="connsiteX161" fmla="*/ 4940435 w 7257624"/>
              <a:gd name="connsiteY161" fmla="*/ 1930400 h 2763520"/>
              <a:gd name="connsiteX162" fmla="*/ 3832995 w 7257624"/>
              <a:gd name="connsiteY162" fmla="*/ 1920240 h 2763520"/>
              <a:gd name="connsiteX163" fmla="*/ 3802515 w 7257624"/>
              <a:gd name="connsiteY163" fmla="*/ 1899920 h 2763520"/>
              <a:gd name="connsiteX164" fmla="*/ 3660275 w 7257624"/>
              <a:gd name="connsiteY164" fmla="*/ 1859280 h 2763520"/>
              <a:gd name="connsiteX165" fmla="*/ 3629795 w 7257624"/>
              <a:gd name="connsiteY165" fmla="*/ 1849120 h 2763520"/>
              <a:gd name="connsiteX166" fmla="*/ 3548515 w 7257624"/>
              <a:gd name="connsiteY166" fmla="*/ 1828800 h 2763520"/>
              <a:gd name="connsiteX167" fmla="*/ 3477395 w 7257624"/>
              <a:gd name="connsiteY167" fmla="*/ 1788160 h 2763520"/>
              <a:gd name="connsiteX168" fmla="*/ 3446915 w 7257624"/>
              <a:gd name="connsiteY168" fmla="*/ 1767840 h 2763520"/>
              <a:gd name="connsiteX169" fmla="*/ 3416435 w 7257624"/>
              <a:gd name="connsiteY169" fmla="*/ 1757680 h 2763520"/>
              <a:gd name="connsiteX170" fmla="*/ 3385955 w 7257624"/>
              <a:gd name="connsiteY170" fmla="*/ 1717040 h 2763520"/>
              <a:gd name="connsiteX171" fmla="*/ 3355475 w 7257624"/>
              <a:gd name="connsiteY171" fmla="*/ 1706880 h 2763520"/>
              <a:gd name="connsiteX172" fmla="*/ 3324995 w 7257624"/>
              <a:gd name="connsiteY172" fmla="*/ 1686560 h 2763520"/>
              <a:gd name="connsiteX173" fmla="*/ 3253875 w 7257624"/>
              <a:gd name="connsiteY173" fmla="*/ 1666240 h 2763520"/>
              <a:gd name="connsiteX174" fmla="*/ 3223395 w 7257624"/>
              <a:gd name="connsiteY174" fmla="*/ 1645920 h 2763520"/>
              <a:gd name="connsiteX175" fmla="*/ 3030355 w 7257624"/>
              <a:gd name="connsiteY175" fmla="*/ 1595120 h 2763520"/>
              <a:gd name="connsiteX176" fmla="*/ 2969395 w 7257624"/>
              <a:gd name="connsiteY176" fmla="*/ 1574800 h 2763520"/>
              <a:gd name="connsiteX177" fmla="*/ 2877955 w 7257624"/>
              <a:gd name="connsiteY177" fmla="*/ 1554480 h 2763520"/>
              <a:gd name="connsiteX178" fmla="*/ 2806835 w 7257624"/>
              <a:gd name="connsiteY178" fmla="*/ 1503680 h 2763520"/>
              <a:gd name="connsiteX179" fmla="*/ 2776355 w 7257624"/>
              <a:gd name="connsiteY179" fmla="*/ 1493520 h 2763520"/>
              <a:gd name="connsiteX180" fmla="*/ 2715395 w 7257624"/>
              <a:gd name="connsiteY180" fmla="*/ 1432560 h 2763520"/>
              <a:gd name="connsiteX181" fmla="*/ 2654435 w 7257624"/>
              <a:gd name="connsiteY181" fmla="*/ 1412240 h 2763520"/>
              <a:gd name="connsiteX182" fmla="*/ 2562995 w 7257624"/>
              <a:gd name="connsiteY182" fmla="*/ 1341120 h 2763520"/>
              <a:gd name="connsiteX183" fmla="*/ 2532515 w 7257624"/>
              <a:gd name="connsiteY183" fmla="*/ 1310640 h 2763520"/>
              <a:gd name="connsiteX184" fmla="*/ 2461395 w 7257624"/>
              <a:gd name="connsiteY184" fmla="*/ 1249680 h 2763520"/>
              <a:gd name="connsiteX185" fmla="*/ 2441075 w 7257624"/>
              <a:gd name="connsiteY185" fmla="*/ 1219200 h 2763520"/>
              <a:gd name="connsiteX186" fmla="*/ 2380115 w 7257624"/>
              <a:gd name="connsiteY186" fmla="*/ 1198880 h 2763520"/>
              <a:gd name="connsiteX187" fmla="*/ 2349635 w 7257624"/>
              <a:gd name="connsiteY187" fmla="*/ 1188720 h 2763520"/>
              <a:gd name="connsiteX188" fmla="*/ 2319155 w 7257624"/>
              <a:gd name="connsiteY188" fmla="*/ 1158240 h 2763520"/>
              <a:gd name="connsiteX189" fmla="*/ 2258195 w 7257624"/>
              <a:gd name="connsiteY189" fmla="*/ 1137920 h 2763520"/>
              <a:gd name="connsiteX190" fmla="*/ 2227715 w 7257624"/>
              <a:gd name="connsiteY190" fmla="*/ 1127760 h 2763520"/>
              <a:gd name="connsiteX191" fmla="*/ 2156595 w 7257624"/>
              <a:gd name="connsiteY191" fmla="*/ 1107440 h 2763520"/>
              <a:gd name="connsiteX192" fmla="*/ 2085475 w 7257624"/>
              <a:gd name="connsiteY192" fmla="*/ 1056640 h 2763520"/>
              <a:gd name="connsiteX193" fmla="*/ 1994035 w 7257624"/>
              <a:gd name="connsiteY193" fmla="*/ 1036320 h 2763520"/>
              <a:gd name="connsiteX194" fmla="*/ 1902595 w 7257624"/>
              <a:gd name="connsiteY194" fmla="*/ 1016000 h 2763520"/>
              <a:gd name="connsiteX195" fmla="*/ 1811155 w 7257624"/>
              <a:gd name="connsiteY195" fmla="*/ 1005840 h 2763520"/>
              <a:gd name="connsiteX196" fmla="*/ 1740035 w 7257624"/>
              <a:gd name="connsiteY196" fmla="*/ 995680 h 2763520"/>
              <a:gd name="connsiteX197" fmla="*/ 1709555 w 7257624"/>
              <a:gd name="connsiteY197" fmla="*/ 975360 h 2763520"/>
              <a:gd name="connsiteX198" fmla="*/ 1526675 w 7257624"/>
              <a:gd name="connsiteY198" fmla="*/ 944880 h 2763520"/>
              <a:gd name="connsiteX199" fmla="*/ 1445395 w 7257624"/>
              <a:gd name="connsiteY199" fmla="*/ 914400 h 2763520"/>
              <a:gd name="connsiteX200" fmla="*/ 1414915 w 7257624"/>
              <a:gd name="connsiteY200" fmla="*/ 904240 h 2763520"/>
              <a:gd name="connsiteX201" fmla="*/ 1353955 w 7257624"/>
              <a:gd name="connsiteY201" fmla="*/ 863600 h 2763520"/>
              <a:gd name="connsiteX202" fmla="*/ 1323475 w 7257624"/>
              <a:gd name="connsiteY202" fmla="*/ 843280 h 2763520"/>
              <a:gd name="connsiteX203" fmla="*/ 1292995 w 7257624"/>
              <a:gd name="connsiteY203" fmla="*/ 833120 h 2763520"/>
              <a:gd name="connsiteX204" fmla="*/ 1221875 w 7257624"/>
              <a:gd name="connsiteY204" fmla="*/ 711200 h 2763520"/>
              <a:gd name="connsiteX205" fmla="*/ 1211715 w 7257624"/>
              <a:gd name="connsiteY205" fmla="*/ 680720 h 2763520"/>
              <a:gd name="connsiteX206" fmla="*/ 1191395 w 7257624"/>
              <a:gd name="connsiteY206" fmla="*/ 650240 h 2763520"/>
              <a:gd name="connsiteX207" fmla="*/ 1171075 w 7257624"/>
              <a:gd name="connsiteY207" fmla="*/ 589280 h 2763520"/>
              <a:gd name="connsiteX208" fmla="*/ 1160915 w 7257624"/>
              <a:gd name="connsiteY208" fmla="*/ 558800 h 2763520"/>
              <a:gd name="connsiteX209" fmla="*/ 1130435 w 7257624"/>
              <a:gd name="connsiteY209" fmla="*/ 538480 h 2763520"/>
              <a:gd name="connsiteX210" fmla="*/ 1089795 w 7257624"/>
              <a:gd name="connsiteY210" fmla="*/ 487680 h 2763520"/>
              <a:gd name="connsiteX211" fmla="*/ 1028835 w 7257624"/>
              <a:gd name="connsiteY211" fmla="*/ 467360 h 2763520"/>
              <a:gd name="connsiteX212" fmla="*/ 1008515 w 7257624"/>
              <a:gd name="connsiteY212" fmla="*/ 436880 h 2763520"/>
              <a:gd name="connsiteX213" fmla="*/ 937395 w 7257624"/>
              <a:gd name="connsiteY213" fmla="*/ 406400 h 2763520"/>
              <a:gd name="connsiteX214" fmla="*/ 744355 w 7257624"/>
              <a:gd name="connsiteY214" fmla="*/ 375920 h 2763520"/>
              <a:gd name="connsiteX215" fmla="*/ 774835 w 7257624"/>
              <a:gd name="connsiteY215" fmla="*/ 365760 h 2763520"/>
              <a:gd name="connsiteX216" fmla="*/ 815475 w 7257624"/>
              <a:gd name="connsiteY216" fmla="*/ 365760 h 276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</a:cxnLst>
            <a:rect l="l" t="t" r="r" b="b"/>
            <a:pathLst>
              <a:path w="7257624" h="2763520">
                <a:moveTo>
                  <a:pt x="815475" y="365760"/>
                </a:moveTo>
                <a:cubicBezTo>
                  <a:pt x="752822" y="365760"/>
                  <a:pt x="659792" y="345693"/>
                  <a:pt x="398915" y="365760"/>
                </a:cubicBezTo>
                <a:cubicBezTo>
                  <a:pt x="371070" y="367902"/>
                  <a:pt x="317635" y="386080"/>
                  <a:pt x="317635" y="386080"/>
                </a:cubicBezTo>
                <a:cubicBezTo>
                  <a:pt x="307475" y="392853"/>
                  <a:pt x="297757" y="400342"/>
                  <a:pt x="287155" y="406400"/>
                </a:cubicBezTo>
                <a:cubicBezTo>
                  <a:pt x="274005" y="413914"/>
                  <a:pt x="258840" y="417917"/>
                  <a:pt x="246515" y="426720"/>
                </a:cubicBezTo>
                <a:cubicBezTo>
                  <a:pt x="171553" y="480264"/>
                  <a:pt x="263608" y="440896"/>
                  <a:pt x="175395" y="467360"/>
                </a:cubicBezTo>
                <a:cubicBezTo>
                  <a:pt x="154879" y="473515"/>
                  <a:pt x="114435" y="487680"/>
                  <a:pt x="114435" y="487680"/>
                </a:cubicBezTo>
                <a:lnTo>
                  <a:pt x="53475" y="579120"/>
                </a:lnTo>
                <a:cubicBezTo>
                  <a:pt x="46702" y="589280"/>
                  <a:pt x="37016" y="598016"/>
                  <a:pt x="33155" y="609600"/>
                </a:cubicBezTo>
                <a:lnTo>
                  <a:pt x="12835" y="670560"/>
                </a:lnTo>
                <a:cubicBezTo>
                  <a:pt x="-5228" y="796998"/>
                  <a:pt x="-3302" y="751232"/>
                  <a:pt x="12835" y="944880"/>
                </a:cubicBezTo>
                <a:cubicBezTo>
                  <a:pt x="14091" y="959949"/>
                  <a:pt x="40206" y="1043371"/>
                  <a:pt x="43315" y="1046480"/>
                </a:cubicBezTo>
                <a:lnTo>
                  <a:pt x="73795" y="1076960"/>
                </a:lnTo>
                <a:cubicBezTo>
                  <a:pt x="77182" y="1097280"/>
                  <a:pt x="77441" y="1118377"/>
                  <a:pt x="83955" y="1137920"/>
                </a:cubicBezTo>
                <a:cubicBezTo>
                  <a:pt x="87816" y="1149504"/>
                  <a:pt x="98814" y="1157478"/>
                  <a:pt x="104275" y="1168400"/>
                </a:cubicBezTo>
                <a:cubicBezTo>
                  <a:pt x="109064" y="1177979"/>
                  <a:pt x="110216" y="1189036"/>
                  <a:pt x="114435" y="1198880"/>
                </a:cubicBezTo>
                <a:cubicBezTo>
                  <a:pt x="120401" y="1212801"/>
                  <a:pt x="129437" y="1225339"/>
                  <a:pt x="134755" y="1239520"/>
                </a:cubicBezTo>
                <a:cubicBezTo>
                  <a:pt x="139658" y="1252595"/>
                  <a:pt x="142177" y="1266468"/>
                  <a:pt x="144915" y="1280160"/>
                </a:cubicBezTo>
                <a:cubicBezTo>
                  <a:pt x="148955" y="1300360"/>
                  <a:pt x="144695" y="1323326"/>
                  <a:pt x="155075" y="1341120"/>
                </a:cubicBezTo>
                <a:cubicBezTo>
                  <a:pt x="177219" y="1379081"/>
                  <a:pt x="212287" y="1399581"/>
                  <a:pt x="246515" y="1422400"/>
                </a:cubicBezTo>
                <a:cubicBezTo>
                  <a:pt x="253288" y="1439333"/>
                  <a:pt x="258679" y="1456888"/>
                  <a:pt x="266835" y="1473200"/>
                </a:cubicBezTo>
                <a:cubicBezTo>
                  <a:pt x="280980" y="1501490"/>
                  <a:pt x="295165" y="1511690"/>
                  <a:pt x="317635" y="1534160"/>
                </a:cubicBezTo>
                <a:cubicBezTo>
                  <a:pt x="337414" y="1593498"/>
                  <a:pt x="312319" y="1539004"/>
                  <a:pt x="358275" y="1584960"/>
                </a:cubicBezTo>
                <a:cubicBezTo>
                  <a:pt x="366909" y="1593594"/>
                  <a:pt x="370778" y="1606059"/>
                  <a:pt x="378595" y="1615440"/>
                </a:cubicBezTo>
                <a:cubicBezTo>
                  <a:pt x="387793" y="1626478"/>
                  <a:pt x="398915" y="1635760"/>
                  <a:pt x="409075" y="1645920"/>
                </a:cubicBezTo>
                <a:cubicBezTo>
                  <a:pt x="433233" y="1718394"/>
                  <a:pt x="398978" y="1630774"/>
                  <a:pt x="449715" y="1706880"/>
                </a:cubicBezTo>
                <a:cubicBezTo>
                  <a:pt x="470750" y="1738433"/>
                  <a:pt x="445937" y="1740434"/>
                  <a:pt x="480195" y="1767840"/>
                </a:cubicBezTo>
                <a:cubicBezTo>
                  <a:pt x="488558" y="1774530"/>
                  <a:pt x="501096" y="1773211"/>
                  <a:pt x="510675" y="1778000"/>
                </a:cubicBezTo>
                <a:cubicBezTo>
                  <a:pt x="548513" y="1796919"/>
                  <a:pt x="537930" y="1800713"/>
                  <a:pt x="571635" y="1828800"/>
                </a:cubicBezTo>
                <a:cubicBezTo>
                  <a:pt x="625760" y="1873904"/>
                  <a:pt x="577608" y="1828732"/>
                  <a:pt x="632595" y="1859280"/>
                </a:cubicBezTo>
                <a:cubicBezTo>
                  <a:pt x="653943" y="1871140"/>
                  <a:pt x="693555" y="1899920"/>
                  <a:pt x="693555" y="1899920"/>
                </a:cubicBezTo>
                <a:cubicBezTo>
                  <a:pt x="731100" y="1956238"/>
                  <a:pt x="692393" y="1911692"/>
                  <a:pt x="744355" y="1940560"/>
                </a:cubicBezTo>
                <a:cubicBezTo>
                  <a:pt x="765703" y="1952420"/>
                  <a:pt x="805315" y="1981200"/>
                  <a:pt x="805315" y="1981200"/>
                </a:cubicBezTo>
                <a:cubicBezTo>
                  <a:pt x="854059" y="2054316"/>
                  <a:pt x="785033" y="1964292"/>
                  <a:pt x="886595" y="2032000"/>
                </a:cubicBezTo>
                <a:lnTo>
                  <a:pt x="1008515" y="2113280"/>
                </a:lnTo>
                <a:cubicBezTo>
                  <a:pt x="1018675" y="2120053"/>
                  <a:pt x="1027411" y="2129739"/>
                  <a:pt x="1038995" y="2133600"/>
                </a:cubicBezTo>
                <a:lnTo>
                  <a:pt x="1099955" y="2153920"/>
                </a:lnTo>
                <a:cubicBezTo>
                  <a:pt x="1106728" y="2164080"/>
                  <a:pt x="1109920" y="2177928"/>
                  <a:pt x="1120275" y="2184400"/>
                </a:cubicBezTo>
                <a:cubicBezTo>
                  <a:pt x="1138438" y="2195752"/>
                  <a:pt x="1160915" y="2197947"/>
                  <a:pt x="1181235" y="2204720"/>
                </a:cubicBezTo>
                <a:cubicBezTo>
                  <a:pt x="1235365" y="2222763"/>
                  <a:pt x="1206832" y="2215466"/>
                  <a:pt x="1292995" y="2225040"/>
                </a:cubicBezTo>
                <a:cubicBezTo>
                  <a:pt x="1326822" y="2228799"/>
                  <a:pt x="1360728" y="2231813"/>
                  <a:pt x="1394595" y="2235200"/>
                </a:cubicBezTo>
                <a:cubicBezTo>
                  <a:pt x="1452999" y="2254668"/>
                  <a:pt x="1395549" y="2236384"/>
                  <a:pt x="1465715" y="2255520"/>
                </a:cubicBezTo>
                <a:cubicBezTo>
                  <a:pt x="1486990" y="2261322"/>
                  <a:pt x="1548750" y="2280255"/>
                  <a:pt x="1577475" y="2286000"/>
                </a:cubicBezTo>
                <a:cubicBezTo>
                  <a:pt x="1597675" y="2290040"/>
                  <a:pt x="1618115" y="2292773"/>
                  <a:pt x="1638435" y="2296160"/>
                </a:cubicBezTo>
                <a:cubicBezTo>
                  <a:pt x="1651982" y="2302933"/>
                  <a:pt x="1664894" y="2311162"/>
                  <a:pt x="1679075" y="2316480"/>
                </a:cubicBezTo>
                <a:cubicBezTo>
                  <a:pt x="1737412" y="2338356"/>
                  <a:pt x="1711197" y="2312221"/>
                  <a:pt x="1780675" y="2346960"/>
                </a:cubicBezTo>
                <a:cubicBezTo>
                  <a:pt x="1794222" y="2353733"/>
                  <a:pt x="1806703" y="2363295"/>
                  <a:pt x="1821315" y="2367280"/>
                </a:cubicBezTo>
                <a:cubicBezTo>
                  <a:pt x="1844419" y="2373581"/>
                  <a:pt x="1868874" y="2373156"/>
                  <a:pt x="1892435" y="2377440"/>
                </a:cubicBezTo>
                <a:cubicBezTo>
                  <a:pt x="1906173" y="2379938"/>
                  <a:pt x="1919181" y="2386211"/>
                  <a:pt x="1933075" y="2387600"/>
                </a:cubicBezTo>
                <a:cubicBezTo>
                  <a:pt x="1987098" y="2393002"/>
                  <a:pt x="2041448" y="2394373"/>
                  <a:pt x="2095635" y="2397760"/>
                </a:cubicBezTo>
                <a:cubicBezTo>
                  <a:pt x="2177921" y="2425189"/>
                  <a:pt x="2115488" y="2406592"/>
                  <a:pt x="2288675" y="2428240"/>
                </a:cubicBezTo>
                <a:lnTo>
                  <a:pt x="2288675" y="2428240"/>
                </a:lnTo>
                <a:cubicBezTo>
                  <a:pt x="2315768" y="2435013"/>
                  <a:pt x="2344976" y="2436071"/>
                  <a:pt x="2369955" y="2448560"/>
                </a:cubicBezTo>
                <a:cubicBezTo>
                  <a:pt x="2438089" y="2482627"/>
                  <a:pt x="2382068" y="2458290"/>
                  <a:pt x="2451235" y="2479040"/>
                </a:cubicBezTo>
                <a:cubicBezTo>
                  <a:pt x="2471751" y="2485195"/>
                  <a:pt x="2491875" y="2492587"/>
                  <a:pt x="2512195" y="2499360"/>
                </a:cubicBezTo>
                <a:cubicBezTo>
                  <a:pt x="2522355" y="2502747"/>
                  <a:pt x="2532173" y="2507420"/>
                  <a:pt x="2542675" y="2509520"/>
                </a:cubicBezTo>
                <a:cubicBezTo>
                  <a:pt x="2577593" y="2516504"/>
                  <a:pt x="2600636" y="2520274"/>
                  <a:pt x="2634115" y="2529840"/>
                </a:cubicBezTo>
                <a:cubicBezTo>
                  <a:pt x="2644413" y="2532782"/>
                  <a:pt x="2654297" y="2537058"/>
                  <a:pt x="2664595" y="2540000"/>
                </a:cubicBezTo>
                <a:cubicBezTo>
                  <a:pt x="2678021" y="2543836"/>
                  <a:pt x="2691988" y="2545744"/>
                  <a:pt x="2705235" y="2550160"/>
                </a:cubicBezTo>
                <a:cubicBezTo>
                  <a:pt x="2722537" y="2555927"/>
                  <a:pt x="2737824" y="2569487"/>
                  <a:pt x="2756035" y="2570480"/>
                </a:cubicBezTo>
                <a:cubicBezTo>
                  <a:pt x="2925151" y="2579704"/>
                  <a:pt x="3094688" y="2578055"/>
                  <a:pt x="3264035" y="2580640"/>
                </a:cubicBezTo>
                <a:lnTo>
                  <a:pt x="4086995" y="2590800"/>
                </a:lnTo>
                <a:cubicBezTo>
                  <a:pt x="4163282" y="2601698"/>
                  <a:pt x="4198387" y="2604224"/>
                  <a:pt x="4280035" y="2631440"/>
                </a:cubicBezTo>
                <a:cubicBezTo>
                  <a:pt x="4290195" y="2634827"/>
                  <a:pt x="4299930" y="2639972"/>
                  <a:pt x="4310515" y="2641600"/>
                </a:cubicBezTo>
                <a:cubicBezTo>
                  <a:pt x="4344155" y="2646775"/>
                  <a:pt x="4378288" y="2648001"/>
                  <a:pt x="4412115" y="2651760"/>
                </a:cubicBezTo>
                <a:lnTo>
                  <a:pt x="4584835" y="2672080"/>
                </a:lnTo>
                <a:cubicBezTo>
                  <a:pt x="4594995" y="2675467"/>
                  <a:pt x="4604860" y="2679917"/>
                  <a:pt x="4615315" y="2682240"/>
                </a:cubicBezTo>
                <a:cubicBezTo>
                  <a:pt x="4635425" y="2686709"/>
                  <a:pt x="4656544" y="2686481"/>
                  <a:pt x="4676275" y="2692400"/>
                </a:cubicBezTo>
                <a:cubicBezTo>
                  <a:pt x="4690782" y="2696752"/>
                  <a:pt x="4702734" y="2707402"/>
                  <a:pt x="4716915" y="2712720"/>
                </a:cubicBezTo>
                <a:cubicBezTo>
                  <a:pt x="4729990" y="2717623"/>
                  <a:pt x="4743863" y="2720142"/>
                  <a:pt x="4757555" y="2722880"/>
                </a:cubicBezTo>
                <a:cubicBezTo>
                  <a:pt x="4844308" y="2740231"/>
                  <a:pt x="4871119" y="2736328"/>
                  <a:pt x="4981075" y="2743200"/>
                </a:cubicBezTo>
                <a:cubicBezTo>
                  <a:pt x="5018328" y="2749973"/>
                  <a:pt x="5054977" y="2762844"/>
                  <a:pt x="5092835" y="2763520"/>
                </a:cubicBezTo>
                <a:lnTo>
                  <a:pt x="5550035" y="2753360"/>
                </a:lnTo>
                <a:cubicBezTo>
                  <a:pt x="5580682" y="2752225"/>
                  <a:pt x="5610857" y="2744950"/>
                  <a:pt x="5641475" y="2743200"/>
                </a:cubicBezTo>
                <a:cubicBezTo>
                  <a:pt x="5729450" y="2738173"/>
                  <a:pt x="5817582" y="2736427"/>
                  <a:pt x="5905635" y="2733040"/>
                </a:cubicBezTo>
                <a:cubicBezTo>
                  <a:pt x="5932728" y="2726267"/>
                  <a:pt x="5959413" y="2717573"/>
                  <a:pt x="5986915" y="2712720"/>
                </a:cubicBezTo>
                <a:cubicBezTo>
                  <a:pt x="6017116" y="2707390"/>
                  <a:pt x="6049732" y="2713569"/>
                  <a:pt x="6078355" y="2702560"/>
                </a:cubicBezTo>
                <a:cubicBezTo>
                  <a:pt x="6096236" y="2695683"/>
                  <a:pt x="6102880" y="2672280"/>
                  <a:pt x="6118995" y="2661920"/>
                </a:cubicBezTo>
                <a:cubicBezTo>
                  <a:pt x="6150845" y="2641445"/>
                  <a:pt x="6189090" y="2632123"/>
                  <a:pt x="6220595" y="2611120"/>
                </a:cubicBezTo>
                <a:cubicBezTo>
                  <a:pt x="6230755" y="2604347"/>
                  <a:pt x="6242824" y="2599801"/>
                  <a:pt x="6251075" y="2590800"/>
                </a:cubicBezTo>
                <a:cubicBezTo>
                  <a:pt x="6280382" y="2558829"/>
                  <a:pt x="6305560" y="2523303"/>
                  <a:pt x="6332355" y="2489200"/>
                </a:cubicBezTo>
                <a:cubicBezTo>
                  <a:pt x="6342817" y="2475885"/>
                  <a:pt x="6350861" y="2460534"/>
                  <a:pt x="6362835" y="2448560"/>
                </a:cubicBezTo>
                <a:cubicBezTo>
                  <a:pt x="6372995" y="2438400"/>
                  <a:pt x="6384117" y="2429118"/>
                  <a:pt x="6393315" y="2418080"/>
                </a:cubicBezTo>
                <a:cubicBezTo>
                  <a:pt x="6401132" y="2408699"/>
                  <a:pt x="6405001" y="2396234"/>
                  <a:pt x="6413635" y="2387600"/>
                </a:cubicBezTo>
                <a:cubicBezTo>
                  <a:pt x="6422269" y="2378966"/>
                  <a:pt x="6435039" y="2375449"/>
                  <a:pt x="6444115" y="2367280"/>
                </a:cubicBezTo>
                <a:cubicBezTo>
                  <a:pt x="6469035" y="2344852"/>
                  <a:pt x="6485248" y="2311153"/>
                  <a:pt x="6515235" y="2296160"/>
                </a:cubicBezTo>
                <a:cubicBezTo>
                  <a:pt x="6575033" y="2266261"/>
                  <a:pt x="6541507" y="2280629"/>
                  <a:pt x="6616835" y="2255520"/>
                </a:cubicBezTo>
                <a:cubicBezTo>
                  <a:pt x="6633768" y="2238587"/>
                  <a:pt x="6648477" y="2219088"/>
                  <a:pt x="6667635" y="2204720"/>
                </a:cubicBezTo>
                <a:cubicBezTo>
                  <a:pt x="6676203" y="2198294"/>
                  <a:pt x="6688536" y="2199349"/>
                  <a:pt x="6698115" y="2194560"/>
                </a:cubicBezTo>
                <a:cubicBezTo>
                  <a:pt x="6709037" y="2189099"/>
                  <a:pt x="6719214" y="2182057"/>
                  <a:pt x="6728595" y="2174240"/>
                </a:cubicBezTo>
                <a:cubicBezTo>
                  <a:pt x="6806422" y="2109384"/>
                  <a:pt x="6714030" y="2181558"/>
                  <a:pt x="6779395" y="2103120"/>
                </a:cubicBezTo>
                <a:cubicBezTo>
                  <a:pt x="6787212" y="2093739"/>
                  <a:pt x="6799715" y="2089573"/>
                  <a:pt x="6809875" y="2082800"/>
                </a:cubicBezTo>
                <a:cubicBezTo>
                  <a:pt x="6816648" y="2072640"/>
                  <a:pt x="6822869" y="2062089"/>
                  <a:pt x="6830195" y="2052320"/>
                </a:cubicBezTo>
                <a:cubicBezTo>
                  <a:pt x="6843206" y="2034972"/>
                  <a:pt x="6860451" y="2020557"/>
                  <a:pt x="6870835" y="2001520"/>
                </a:cubicBezTo>
                <a:cubicBezTo>
                  <a:pt x="6881092" y="1982716"/>
                  <a:pt x="6884382" y="1960880"/>
                  <a:pt x="6891155" y="1940560"/>
                </a:cubicBezTo>
                <a:cubicBezTo>
                  <a:pt x="6894542" y="1930400"/>
                  <a:pt x="6896002" y="1919379"/>
                  <a:pt x="6901315" y="1910080"/>
                </a:cubicBezTo>
                <a:cubicBezTo>
                  <a:pt x="6914862" y="1886373"/>
                  <a:pt x="6927296" y="1861995"/>
                  <a:pt x="6941955" y="1838960"/>
                </a:cubicBezTo>
                <a:cubicBezTo>
                  <a:pt x="6981661" y="1776566"/>
                  <a:pt x="6966782" y="1819787"/>
                  <a:pt x="7002915" y="1747520"/>
                </a:cubicBezTo>
                <a:cubicBezTo>
                  <a:pt x="7007704" y="1737941"/>
                  <a:pt x="7007762" y="1726339"/>
                  <a:pt x="7013075" y="1717040"/>
                </a:cubicBezTo>
                <a:cubicBezTo>
                  <a:pt x="7021476" y="1702338"/>
                  <a:pt x="7034162" y="1690489"/>
                  <a:pt x="7043555" y="1676400"/>
                </a:cubicBezTo>
                <a:cubicBezTo>
                  <a:pt x="7054509" y="1659969"/>
                  <a:pt x="7063875" y="1642533"/>
                  <a:pt x="7074035" y="1625600"/>
                </a:cubicBezTo>
                <a:cubicBezTo>
                  <a:pt x="7088396" y="1553797"/>
                  <a:pt x="7078734" y="1591183"/>
                  <a:pt x="7104515" y="1513840"/>
                </a:cubicBezTo>
                <a:lnTo>
                  <a:pt x="7124835" y="1452880"/>
                </a:lnTo>
                <a:cubicBezTo>
                  <a:pt x="7128222" y="1442720"/>
                  <a:pt x="7130206" y="1431979"/>
                  <a:pt x="7134995" y="1422400"/>
                </a:cubicBezTo>
                <a:cubicBezTo>
                  <a:pt x="7151928" y="1388533"/>
                  <a:pt x="7173821" y="1356721"/>
                  <a:pt x="7185795" y="1320800"/>
                </a:cubicBezTo>
                <a:cubicBezTo>
                  <a:pt x="7189182" y="1310640"/>
                  <a:pt x="7193013" y="1300618"/>
                  <a:pt x="7195955" y="1290320"/>
                </a:cubicBezTo>
                <a:cubicBezTo>
                  <a:pt x="7205589" y="1256601"/>
                  <a:pt x="7204095" y="1249650"/>
                  <a:pt x="7216275" y="1219200"/>
                </a:cubicBezTo>
                <a:cubicBezTo>
                  <a:pt x="7225854" y="1195253"/>
                  <a:pt x="7236595" y="1171787"/>
                  <a:pt x="7246755" y="1148080"/>
                </a:cubicBezTo>
                <a:cubicBezTo>
                  <a:pt x="7257247" y="969718"/>
                  <a:pt x="7264768" y="943984"/>
                  <a:pt x="7246755" y="751840"/>
                </a:cubicBezTo>
                <a:cubicBezTo>
                  <a:pt x="7243531" y="717453"/>
                  <a:pt x="7226435" y="650240"/>
                  <a:pt x="7226435" y="650240"/>
                </a:cubicBezTo>
                <a:cubicBezTo>
                  <a:pt x="7218217" y="555736"/>
                  <a:pt x="7222701" y="465073"/>
                  <a:pt x="7195955" y="375920"/>
                </a:cubicBezTo>
                <a:cubicBezTo>
                  <a:pt x="7189800" y="355404"/>
                  <a:pt x="7188486" y="332095"/>
                  <a:pt x="7175635" y="314960"/>
                </a:cubicBezTo>
                <a:lnTo>
                  <a:pt x="7145155" y="274320"/>
                </a:lnTo>
                <a:cubicBezTo>
                  <a:pt x="7119618" y="197708"/>
                  <a:pt x="7154066" y="292142"/>
                  <a:pt x="7114675" y="213360"/>
                </a:cubicBezTo>
                <a:cubicBezTo>
                  <a:pt x="7109886" y="203781"/>
                  <a:pt x="7111371" y="191107"/>
                  <a:pt x="7104515" y="182880"/>
                </a:cubicBezTo>
                <a:cubicBezTo>
                  <a:pt x="7087878" y="162915"/>
                  <a:pt x="7053612" y="148927"/>
                  <a:pt x="7033395" y="132080"/>
                </a:cubicBezTo>
                <a:cubicBezTo>
                  <a:pt x="7022357" y="122882"/>
                  <a:pt x="7013953" y="110798"/>
                  <a:pt x="7002915" y="101600"/>
                </a:cubicBezTo>
                <a:cubicBezTo>
                  <a:pt x="6993534" y="93783"/>
                  <a:pt x="6981816" y="89097"/>
                  <a:pt x="6972435" y="81280"/>
                </a:cubicBezTo>
                <a:cubicBezTo>
                  <a:pt x="6945091" y="58493"/>
                  <a:pt x="6943908" y="44894"/>
                  <a:pt x="6911475" y="30480"/>
                </a:cubicBezTo>
                <a:cubicBezTo>
                  <a:pt x="6869288" y="11730"/>
                  <a:pt x="6843175" y="8692"/>
                  <a:pt x="6799715" y="0"/>
                </a:cubicBezTo>
                <a:cubicBezTo>
                  <a:pt x="6671022" y="3387"/>
                  <a:pt x="6541734" y="-2650"/>
                  <a:pt x="6413635" y="10160"/>
                </a:cubicBezTo>
                <a:cubicBezTo>
                  <a:pt x="6401485" y="11375"/>
                  <a:pt x="6402850" y="33012"/>
                  <a:pt x="6393315" y="40640"/>
                </a:cubicBezTo>
                <a:cubicBezTo>
                  <a:pt x="6384952" y="47330"/>
                  <a:pt x="6372995" y="47413"/>
                  <a:pt x="6362835" y="50800"/>
                </a:cubicBezTo>
                <a:cubicBezTo>
                  <a:pt x="6352675" y="60960"/>
                  <a:pt x="6341553" y="70242"/>
                  <a:pt x="6332355" y="81280"/>
                </a:cubicBezTo>
                <a:cubicBezTo>
                  <a:pt x="6324538" y="90661"/>
                  <a:pt x="6321570" y="104132"/>
                  <a:pt x="6312035" y="111760"/>
                </a:cubicBezTo>
                <a:cubicBezTo>
                  <a:pt x="6303672" y="118450"/>
                  <a:pt x="6291134" y="117131"/>
                  <a:pt x="6281555" y="121920"/>
                </a:cubicBezTo>
                <a:cubicBezTo>
                  <a:pt x="6270633" y="127381"/>
                  <a:pt x="6261235" y="135467"/>
                  <a:pt x="6251075" y="142240"/>
                </a:cubicBezTo>
                <a:cubicBezTo>
                  <a:pt x="6178464" y="251157"/>
                  <a:pt x="6291542" y="85857"/>
                  <a:pt x="6200275" y="203200"/>
                </a:cubicBezTo>
                <a:cubicBezTo>
                  <a:pt x="6185282" y="222477"/>
                  <a:pt x="6173182" y="243840"/>
                  <a:pt x="6159635" y="264160"/>
                </a:cubicBezTo>
                <a:lnTo>
                  <a:pt x="6139315" y="294640"/>
                </a:lnTo>
                <a:cubicBezTo>
                  <a:pt x="6119809" y="372664"/>
                  <a:pt x="6137197" y="297187"/>
                  <a:pt x="6118995" y="406400"/>
                </a:cubicBezTo>
                <a:cubicBezTo>
                  <a:pt x="6116156" y="423434"/>
                  <a:pt x="6111924" y="440210"/>
                  <a:pt x="6108835" y="457200"/>
                </a:cubicBezTo>
                <a:cubicBezTo>
                  <a:pt x="6106788" y="468459"/>
                  <a:pt x="6093534" y="553902"/>
                  <a:pt x="6088515" y="568960"/>
                </a:cubicBezTo>
                <a:cubicBezTo>
                  <a:pt x="6083726" y="583328"/>
                  <a:pt x="6074968" y="596053"/>
                  <a:pt x="6068195" y="609600"/>
                </a:cubicBezTo>
                <a:cubicBezTo>
                  <a:pt x="6064808" y="626533"/>
                  <a:pt x="6062223" y="643647"/>
                  <a:pt x="6058035" y="660400"/>
                </a:cubicBezTo>
                <a:cubicBezTo>
                  <a:pt x="6055438" y="670790"/>
                  <a:pt x="6050198" y="680425"/>
                  <a:pt x="6047875" y="690880"/>
                </a:cubicBezTo>
                <a:cubicBezTo>
                  <a:pt x="6037018" y="739737"/>
                  <a:pt x="6035245" y="783138"/>
                  <a:pt x="6027555" y="833120"/>
                </a:cubicBezTo>
                <a:cubicBezTo>
                  <a:pt x="6007388" y="964208"/>
                  <a:pt x="6027461" y="813317"/>
                  <a:pt x="6007235" y="924560"/>
                </a:cubicBezTo>
                <a:cubicBezTo>
                  <a:pt x="6002951" y="948121"/>
                  <a:pt x="5999873" y="971897"/>
                  <a:pt x="5997075" y="995680"/>
                </a:cubicBezTo>
                <a:cubicBezTo>
                  <a:pt x="5993098" y="1029482"/>
                  <a:pt x="5994568" y="1064116"/>
                  <a:pt x="5986915" y="1097280"/>
                </a:cubicBezTo>
                <a:cubicBezTo>
                  <a:pt x="5984169" y="1109178"/>
                  <a:pt x="5973368" y="1117600"/>
                  <a:pt x="5966595" y="1127760"/>
                </a:cubicBezTo>
                <a:cubicBezTo>
                  <a:pt x="5940827" y="1256602"/>
                  <a:pt x="5975357" y="1117474"/>
                  <a:pt x="5936115" y="1209040"/>
                </a:cubicBezTo>
                <a:cubicBezTo>
                  <a:pt x="5930614" y="1221875"/>
                  <a:pt x="5929967" y="1236305"/>
                  <a:pt x="5925955" y="1249680"/>
                </a:cubicBezTo>
                <a:cubicBezTo>
                  <a:pt x="5919800" y="1270196"/>
                  <a:pt x="5912408" y="1290320"/>
                  <a:pt x="5905635" y="1310640"/>
                </a:cubicBezTo>
                <a:cubicBezTo>
                  <a:pt x="5898862" y="1330960"/>
                  <a:pt x="5890510" y="1350820"/>
                  <a:pt x="5885315" y="1371600"/>
                </a:cubicBezTo>
                <a:cubicBezTo>
                  <a:pt x="5869236" y="1435915"/>
                  <a:pt x="5865260" y="1446344"/>
                  <a:pt x="5854835" y="1503680"/>
                </a:cubicBezTo>
                <a:cubicBezTo>
                  <a:pt x="5851150" y="1523948"/>
                  <a:pt x="5849671" y="1544655"/>
                  <a:pt x="5844675" y="1564640"/>
                </a:cubicBezTo>
                <a:cubicBezTo>
                  <a:pt x="5839480" y="1585420"/>
                  <a:pt x="5839501" y="1610454"/>
                  <a:pt x="5824355" y="1625600"/>
                </a:cubicBezTo>
                <a:cubicBezTo>
                  <a:pt x="5814195" y="1635760"/>
                  <a:pt x="5803073" y="1645042"/>
                  <a:pt x="5793875" y="1656080"/>
                </a:cubicBezTo>
                <a:cubicBezTo>
                  <a:pt x="5767665" y="1687532"/>
                  <a:pt x="5779742" y="1690849"/>
                  <a:pt x="5743075" y="1717040"/>
                </a:cubicBezTo>
                <a:cubicBezTo>
                  <a:pt x="5716913" y="1735727"/>
                  <a:pt x="5669234" y="1748427"/>
                  <a:pt x="5641475" y="1757680"/>
                </a:cubicBezTo>
                <a:cubicBezTo>
                  <a:pt x="5631315" y="1761067"/>
                  <a:pt x="5619906" y="1761899"/>
                  <a:pt x="5610995" y="1767840"/>
                </a:cubicBezTo>
                <a:cubicBezTo>
                  <a:pt x="5600835" y="1774613"/>
                  <a:pt x="5590451" y="1781063"/>
                  <a:pt x="5580515" y="1788160"/>
                </a:cubicBezTo>
                <a:cubicBezTo>
                  <a:pt x="5566736" y="1798002"/>
                  <a:pt x="5554577" y="1810239"/>
                  <a:pt x="5539875" y="1818640"/>
                </a:cubicBezTo>
                <a:cubicBezTo>
                  <a:pt x="5530576" y="1823953"/>
                  <a:pt x="5519239" y="1824581"/>
                  <a:pt x="5509395" y="1828800"/>
                </a:cubicBezTo>
                <a:cubicBezTo>
                  <a:pt x="5495474" y="1834766"/>
                  <a:pt x="5483262" y="1844768"/>
                  <a:pt x="5468755" y="1849120"/>
                </a:cubicBezTo>
                <a:cubicBezTo>
                  <a:pt x="5449024" y="1855039"/>
                  <a:pt x="5427995" y="1855240"/>
                  <a:pt x="5407795" y="1859280"/>
                </a:cubicBezTo>
                <a:cubicBezTo>
                  <a:pt x="5394103" y="1862018"/>
                  <a:pt x="5380893" y="1866942"/>
                  <a:pt x="5367155" y="1869440"/>
                </a:cubicBezTo>
                <a:cubicBezTo>
                  <a:pt x="5343594" y="1873724"/>
                  <a:pt x="5319704" y="1875959"/>
                  <a:pt x="5296035" y="1879600"/>
                </a:cubicBezTo>
                <a:cubicBezTo>
                  <a:pt x="5275674" y="1882732"/>
                  <a:pt x="5255218" y="1885444"/>
                  <a:pt x="5235075" y="1889760"/>
                </a:cubicBezTo>
                <a:cubicBezTo>
                  <a:pt x="5207768" y="1895612"/>
                  <a:pt x="5181460" y="1906264"/>
                  <a:pt x="5153795" y="1910080"/>
                </a:cubicBezTo>
                <a:cubicBezTo>
                  <a:pt x="5083023" y="1919842"/>
                  <a:pt x="4940435" y="1930400"/>
                  <a:pt x="4940435" y="1930400"/>
                </a:cubicBezTo>
                <a:lnTo>
                  <a:pt x="3832995" y="1920240"/>
                </a:lnTo>
                <a:cubicBezTo>
                  <a:pt x="3820789" y="1919913"/>
                  <a:pt x="3813673" y="1904879"/>
                  <a:pt x="3802515" y="1899920"/>
                </a:cubicBezTo>
                <a:cubicBezTo>
                  <a:pt x="3743808" y="1873828"/>
                  <a:pt x="3724853" y="1880806"/>
                  <a:pt x="3660275" y="1859280"/>
                </a:cubicBezTo>
                <a:cubicBezTo>
                  <a:pt x="3650115" y="1855893"/>
                  <a:pt x="3640127" y="1851938"/>
                  <a:pt x="3629795" y="1849120"/>
                </a:cubicBezTo>
                <a:cubicBezTo>
                  <a:pt x="3602852" y="1841772"/>
                  <a:pt x="3548515" y="1828800"/>
                  <a:pt x="3548515" y="1828800"/>
                </a:cubicBezTo>
                <a:cubicBezTo>
                  <a:pt x="3490611" y="1770896"/>
                  <a:pt x="3549030" y="1818861"/>
                  <a:pt x="3477395" y="1788160"/>
                </a:cubicBezTo>
                <a:cubicBezTo>
                  <a:pt x="3466172" y="1783350"/>
                  <a:pt x="3457837" y="1773301"/>
                  <a:pt x="3446915" y="1767840"/>
                </a:cubicBezTo>
                <a:cubicBezTo>
                  <a:pt x="3437336" y="1763051"/>
                  <a:pt x="3426595" y="1761067"/>
                  <a:pt x="3416435" y="1757680"/>
                </a:cubicBezTo>
                <a:cubicBezTo>
                  <a:pt x="3406275" y="1744133"/>
                  <a:pt x="3398964" y="1727880"/>
                  <a:pt x="3385955" y="1717040"/>
                </a:cubicBezTo>
                <a:cubicBezTo>
                  <a:pt x="3377728" y="1710184"/>
                  <a:pt x="3365054" y="1711669"/>
                  <a:pt x="3355475" y="1706880"/>
                </a:cubicBezTo>
                <a:cubicBezTo>
                  <a:pt x="3344553" y="1701419"/>
                  <a:pt x="3335917" y="1692021"/>
                  <a:pt x="3324995" y="1686560"/>
                </a:cubicBezTo>
                <a:cubicBezTo>
                  <a:pt x="3310419" y="1679272"/>
                  <a:pt x="3266896" y="1669495"/>
                  <a:pt x="3253875" y="1666240"/>
                </a:cubicBezTo>
                <a:cubicBezTo>
                  <a:pt x="3243715" y="1659467"/>
                  <a:pt x="3234115" y="1651767"/>
                  <a:pt x="3223395" y="1645920"/>
                </a:cubicBezTo>
                <a:cubicBezTo>
                  <a:pt x="3120131" y="1589594"/>
                  <a:pt x="3158113" y="1606734"/>
                  <a:pt x="3030355" y="1595120"/>
                </a:cubicBezTo>
                <a:cubicBezTo>
                  <a:pt x="3010035" y="1588347"/>
                  <a:pt x="2990523" y="1578321"/>
                  <a:pt x="2969395" y="1574800"/>
                </a:cubicBezTo>
                <a:cubicBezTo>
                  <a:pt x="2932861" y="1568711"/>
                  <a:pt x="2909788" y="1568123"/>
                  <a:pt x="2877955" y="1554480"/>
                </a:cubicBezTo>
                <a:cubicBezTo>
                  <a:pt x="2779726" y="1512382"/>
                  <a:pt x="2890466" y="1559434"/>
                  <a:pt x="2806835" y="1503680"/>
                </a:cubicBezTo>
                <a:cubicBezTo>
                  <a:pt x="2797924" y="1497739"/>
                  <a:pt x="2785934" y="1498309"/>
                  <a:pt x="2776355" y="1493520"/>
                </a:cubicBezTo>
                <a:cubicBezTo>
                  <a:pt x="2667304" y="1438995"/>
                  <a:pt x="2842621" y="1517377"/>
                  <a:pt x="2715395" y="1432560"/>
                </a:cubicBezTo>
                <a:cubicBezTo>
                  <a:pt x="2697573" y="1420679"/>
                  <a:pt x="2654435" y="1412240"/>
                  <a:pt x="2654435" y="1412240"/>
                </a:cubicBezTo>
                <a:cubicBezTo>
                  <a:pt x="2585902" y="1343707"/>
                  <a:pt x="2620737" y="1360367"/>
                  <a:pt x="2562995" y="1341120"/>
                </a:cubicBezTo>
                <a:cubicBezTo>
                  <a:pt x="2552835" y="1330960"/>
                  <a:pt x="2543553" y="1319838"/>
                  <a:pt x="2532515" y="1310640"/>
                </a:cubicBezTo>
                <a:cubicBezTo>
                  <a:pt x="2478588" y="1265701"/>
                  <a:pt x="2522447" y="1320908"/>
                  <a:pt x="2461395" y="1249680"/>
                </a:cubicBezTo>
                <a:cubicBezTo>
                  <a:pt x="2453448" y="1240409"/>
                  <a:pt x="2451430" y="1225672"/>
                  <a:pt x="2441075" y="1219200"/>
                </a:cubicBezTo>
                <a:cubicBezTo>
                  <a:pt x="2422912" y="1207848"/>
                  <a:pt x="2400435" y="1205653"/>
                  <a:pt x="2380115" y="1198880"/>
                </a:cubicBezTo>
                <a:lnTo>
                  <a:pt x="2349635" y="1188720"/>
                </a:lnTo>
                <a:cubicBezTo>
                  <a:pt x="2339475" y="1178560"/>
                  <a:pt x="2331715" y="1165218"/>
                  <a:pt x="2319155" y="1158240"/>
                </a:cubicBezTo>
                <a:cubicBezTo>
                  <a:pt x="2300431" y="1147838"/>
                  <a:pt x="2278515" y="1144693"/>
                  <a:pt x="2258195" y="1137920"/>
                </a:cubicBezTo>
                <a:cubicBezTo>
                  <a:pt x="2248035" y="1134533"/>
                  <a:pt x="2238105" y="1130357"/>
                  <a:pt x="2227715" y="1127760"/>
                </a:cubicBezTo>
                <a:cubicBezTo>
                  <a:pt x="2207092" y="1122604"/>
                  <a:pt x="2177001" y="1116185"/>
                  <a:pt x="2156595" y="1107440"/>
                </a:cubicBezTo>
                <a:cubicBezTo>
                  <a:pt x="2058366" y="1065342"/>
                  <a:pt x="2169106" y="1112394"/>
                  <a:pt x="2085475" y="1056640"/>
                </a:cubicBezTo>
                <a:cubicBezTo>
                  <a:pt x="2068527" y="1045341"/>
                  <a:pt x="2001938" y="1037901"/>
                  <a:pt x="1994035" y="1036320"/>
                </a:cubicBezTo>
                <a:cubicBezTo>
                  <a:pt x="1938572" y="1025227"/>
                  <a:pt x="1964700" y="1024872"/>
                  <a:pt x="1902595" y="1016000"/>
                </a:cubicBezTo>
                <a:cubicBezTo>
                  <a:pt x="1872236" y="1011663"/>
                  <a:pt x="1841586" y="1009644"/>
                  <a:pt x="1811155" y="1005840"/>
                </a:cubicBezTo>
                <a:cubicBezTo>
                  <a:pt x="1787393" y="1002870"/>
                  <a:pt x="1763742" y="999067"/>
                  <a:pt x="1740035" y="995680"/>
                </a:cubicBezTo>
                <a:cubicBezTo>
                  <a:pt x="1729875" y="988907"/>
                  <a:pt x="1720713" y="980319"/>
                  <a:pt x="1709555" y="975360"/>
                </a:cubicBezTo>
                <a:cubicBezTo>
                  <a:pt x="1640568" y="944699"/>
                  <a:pt x="1611563" y="951954"/>
                  <a:pt x="1526675" y="944880"/>
                </a:cubicBezTo>
                <a:cubicBezTo>
                  <a:pt x="1451748" y="926148"/>
                  <a:pt x="1519776" y="946278"/>
                  <a:pt x="1445395" y="914400"/>
                </a:cubicBezTo>
                <a:cubicBezTo>
                  <a:pt x="1435551" y="910181"/>
                  <a:pt x="1424277" y="909441"/>
                  <a:pt x="1414915" y="904240"/>
                </a:cubicBezTo>
                <a:cubicBezTo>
                  <a:pt x="1393567" y="892380"/>
                  <a:pt x="1374275" y="877147"/>
                  <a:pt x="1353955" y="863600"/>
                </a:cubicBezTo>
                <a:cubicBezTo>
                  <a:pt x="1343795" y="856827"/>
                  <a:pt x="1335059" y="847141"/>
                  <a:pt x="1323475" y="843280"/>
                </a:cubicBezTo>
                <a:lnTo>
                  <a:pt x="1292995" y="833120"/>
                </a:lnTo>
                <a:cubicBezTo>
                  <a:pt x="1260511" y="789808"/>
                  <a:pt x="1241160" y="769055"/>
                  <a:pt x="1221875" y="711200"/>
                </a:cubicBezTo>
                <a:cubicBezTo>
                  <a:pt x="1218488" y="701040"/>
                  <a:pt x="1216504" y="690299"/>
                  <a:pt x="1211715" y="680720"/>
                </a:cubicBezTo>
                <a:cubicBezTo>
                  <a:pt x="1206254" y="669798"/>
                  <a:pt x="1196354" y="661398"/>
                  <a:pt x="1191395" y="650240"/>
                </a:cubicBezTo>
                <a:cubicBezTo>
                  <a:pt x="1182696" y="630667"/>
                  <a:pt x="1177848" y="609600"/>
                  <a:pt x="1171075" y="589280"/>
                </a:cubicBezTo>
                <a:cubicBezTo>
                  <a:pt x="1167688" y="579120"/>
                  <a:pt x="1169826" y="564741"/>
                  <a:pt x="1160915" y="558800"/>
                </a:cubicBezTo>
                <a:lnTo>
                  <a:pt x="1130435" y="538480"/>
                </a:lnTo>
                <a:cubicBezTo>
                  <a:pt x="1119418" y="505428"/>
                  <a:pt x="1125761" y="503665"/>
                  <a:pt x="1089795" y="487680"/>
                </a:cubicBezTo>
                <a:cubicBezTo>
                  <a:pt x="1070222" y="478981"/>
                  <a:pt x="1028835" y="467360"/>
                  <a:pt x="1028835" y="467360"/>
                </a:cubicBezTo>
                <a:cubicBezTo>
                  <a:pt x="1022062" y="457200"/>
                  <a:pt x="1017149" y="445514"/>
                  <a:pt x="1008515" y="436880"/>
                </a:cubicBezTo>
                <a:cubicBezTo>
                  <a:pt x="985127" y="413492"/>
                  <a:pt x="968485" y="414173"/>
                  <a:pt x="937395" y="406400"/>
                </a:cubicBezTo>
                <a:cubicBezTo>
                  <a:pt x="854740" y="351297"/>
                  <a:pt x="950229" y="407593"/>
                  <a:pt x="744355" y="375920"/>
                </a:cubicBezTo>
                <a:cubicBezTo>
                  <a:pt x="733770" y="374292"/>
                  <a:pt x="764445" y="368357"/>
                  <a:pt x="774835" y="365760"/>
                </a:cubicBezTo>
                <a:cubicBezTo>
                  <a:pt x="778121" y="364939"/>
                  <a:pt x="878128" y="365760"/>
                  <a:pt x="815475" y="365760"/>
                </a:cubicBezTo>
                <a:close/>
              </a:path>
            </a:pathLst>
          </a:cu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0EB26FB-E8F7-4910-8ADE-E0D34661313F}"/>
              </a:ext>
            </a:extLst>
          </p:cNvPr>
          <p:cNvSpPr/>
          <p:nvPr/>
        </p:nvSpPr>
        <p:spPr>
          <a:xfrm rot="1123136">
            <a:off x="5886716" y="4359925"/>
            <a:ext cx="1130387" cy="1187986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4CCD8EA-5BF8-4DA0-8047-2CE7B671473E}"/>
              </a:ext>
            </a:extLst>
          </p:cNvPr>
          <p:cNvSpPr>
            <a:spLocks noChangeAspect="1"/>
          </p:cNvSpPr>
          <p:nvPr/>
        </p:nvSpPr>
        <p:spPr>
          <a:xfrm>
            <a:off x="3318388" y="2401017"/>
            <a:ext cx="1224000" cy="1224000"/>
          </a:xfrm>
          <a:prstGeom prst="ellipse">
            <a:avLst/>
          </a:prstGeom>
          <a:solidFill>
            <a:schemeClr val="bg2">
              <a:lumMod val="75000"/>
            </a:schemeClr>
          </a:solidFill>
          <a:ln w="133350" cap="rnd"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2" name="Picture 4" descr="Grafton bord/bænkesæt - sort">
            <a:extLst>
              <a:ext uri="{FF2B5EF4-FFF2-40B4-BE49-F238E27FC236}">
                <a16:creationId xmlns:a16="http://schemas.microsoft.com/office/drawing/2014/main" id="{94C8C6BA-BA45-498B-B164-02096AD034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062"/>
          <a:stretch/>
        </p:blipFill>
        <p:spPr bwMode="auto">
          <a:xfrm>
            <a:off x="8923347" y="396742"/>
            <a:ext cx="1668145" cy="1149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Skovshelter">
            <a:extLst>
              <a:ext uri="{FF2B5EF4-FFF2-40B4-BE49-F238E27FC236}">
                <a16:creationId xmlns:a16="http://schemas.microsoft.com/office/drawing/2014/main" id="{443697D3-65EC-414B-B608-B3B8F32B33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3346" y="1850019"/>
            <a:ext cx="1668145" cy="964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71D151B-E24B-44A0-9F52-649AFE8E8B20}"/>
              </a:ext>
            </a:extLst>
          </p:cNvPr>
          <p:cNvCxnSpPr>
            <a:cxnSpLocks/>
          </p:cNvCxnSpPr>
          <p:nvPr/>
        </p:nvCxnSpPr>
        <p:spPr>
          <a:xfrm flipV="1">
            <a:off x="2802553" y="2979892"/>
            <a:ext cx="569979" cy="648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90B7675-0E9C-4CFC-98BF-9CDD31D8BED0}"/>
              </a:ext>
            </a:extLst>
          </p:cNvPr>
          <p:cNvSpPr txBox="1"/>
          <p:nvPr/>
        </p:nvSpPr>
        <p:spPr>
          <a:xfrm>
            <a:off x="1728989" y="2874998"/>
            <a:ext cx="10735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/>
              <a:t>Marksten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A18A9B9-2E09-4BCC-89CB-741A429F83C9}"/>
              </a:ext>
            </a:extLst>
          </p:cNvPr>
          <p:cNvSpPr txBox="1"/>
          <p:nvPr/>
        </p:nvSpPr>
        <p:spPr>
          <a:xfrm>
            <a:off x="6001649" y="4812076"/>
            <a:ext cx="8506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/>
              <a:t>Shelter</a:t>
            </a:r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D212798-CFE6-482F-B8F0-10316E455792}"/>
              </a:ext>
            </a:extLst>
          </p:cNvPr>
          <p:cNvGrpSpPr/>
          <p:nvPr/>
        </p:nvGrpSpPr>
        <p:grpSpPr>
          <a:xfrm rot="3835632">
            <a:off x="5336304" y="2587980"/>
            <a:ext cx="701969" cy="740172"/>
            <a:chOff x="5323840" y="2407920"/>
            <a:chExt cx="701969" cy="740172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42E75DF-098A-4266-ADC1-0141B03ADDD0}"/>
                </a:ext>
              </a:extLst>
            </p:cNvPr>
            <p:cNvSpPr/>
            <p:nvPr/>
          </p:nvSpPr>
          <p:spPr>
            <a:xfrm>
              <a:off x="5323840" y="2499360"/>
              <a:ext cx="152400" cy="568075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A6754DC-E428-458C-A0AA-895B4A65515C}"/>
                </a:ext>
              </a:extLst>
            </p:cNvPr>
            <p:cNvSpPr/>
            <p:nvPr/>
          </p:nvSpPr>
          <p:spPr>
            <a:xfrm>
              <a:off x="5873409" y="2499360"/>
              <a:ext cx="152400" cy="568075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C7DF871-635B-46DF-B5C6-F79F5876EEA4}"/>
                </a:ext>
              </a:extLst>
            </p:cNvPr>
            <p:cNvSpPr/>
            <p:nvPr/>
          </p:nvSpPr>
          <p:spPr>
            <a:xfrm>
              <a:off x="5557054" y="2407920"/>
              <a:ext cx="223986" cy="740172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20A8BC56-2C07-40D4-9356-BF90AB9B7BE1}"/>
              </a:ext>
            </a:extLst>
          </p:cNvPr>
          <p:cNvSpPr txBox="1"/>
          <p:nvPr/>
        </p:nvSpPr>
        <p:spPr>
          <a:xfrm>
            <a:off x="2709284" y="4231713"/>
            <a:ext cx="13538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/>
              <a:t>Bord/bænke</a:t>
            </a:r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D39C14E-1C68-43D5-8080-897E8A7E2911}"/>
              </a:ext>
            </a:extLst>
          </p:cNvPr>
          <p:cNvSpPr txBox="1"/>
          <p:nvPr/>
        </p:nvSpPr>
        <p:spPr>
          <a:xfrm>
            <a:off x="10668881" y="787068"/>
            <a:ext cx="1146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/>
              <a:t>DKK 2,500</a:t>
            </a:r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F6C8615-8F4E-45D9-919B-DF8EF22BE55C}"/>
              </a:ext>
            </a:extLst>
          </p:cNvPr>
          <p:cNvSpPr txBox="1"/>
          <p:nvPr/>
        </p:nvSpPr>
        <p:spPr>
          <a:xfrm>
            <a:off x="10668881" y="2147699"/>
            <a:ext cx="1263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/>
              <a:t>DKK 10,000</a:t>
            </a:r>
            <a:endParaRPr lang="en-US" dirty="0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B295C810-700D-4CA5-8D1E-6D7132B5C817}"/>
              </a:ext>
            </a:extLst>
          </p:cNvPr>
          <p:cNvSpPr/>
          <p:nvPr/>
        </p:nvSpPr>
        <p:spPr>
          <a:xfrm>
            <a:off x="8923345" y="3135375"/>
            <a:ext cx="1668145" cy="592748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tx1"/>
                </a:solidFill>
              </a:rPr>
              <a:t>Sti-grus (3 m</a:t>
            </a:r>
            <a:r>
              <a:rPr lang="da-DK" baseline="30000" dirty="0">
                <a:solidFill>
                  <a:schemeClr val="tx1"/>
                </a:solidFill>
              </a:rPr>
              <a:t>3</a:t>
            </a:r>
            <a:r>
              <a:rPr lang="da-DK" dirty="0">
                <a:solidFill>
                  <a:schemeClr val="tx1"/>
                </a:solidFill>
              </a:rPr>
              <a:t>)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D6243C4-4C10-4F6C-A425-686D36ECF951}"/>
              </a:ext>
            </a:extLst>
          </p:cNvPr>
          <p:cNvSpPr txBox="1"/>
          <p:nvPr/>
        </p:nvSpPr>
        <p:spPr>
          <a:xfrm>
            <a:off x="10668881" y="3244334"/>
            <a:ext cx="1146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/>
              <a:t>DKK 9,000</a:t>
            </a:r>
            <a:endParaRPr lang="en-US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6F265CF-B8AD-4110-8D31-50FB7C7ADABF}"/>
              </a:ext>
            </a:extLst>
          </p:cNvPr>
          <p:cNvSpPr>
            <a:spLocks noChangeAspect="1"/>
          </p:cNvSpPr>
          <p:nvPr/>
        </p:nvSpPr>
        <p:spPr>
          <a:xfrm>
            <a:off x="9492498" y="4911408"/>
            <a:ext cx="540000" cy="540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4D9B72F-384C-4E34-A471-BAE3436BA533}"/>
              </a:ext>
            </a:extLst>
          </p:cNvPr>
          <p:cNvSpPr txBox="1"/>
          <p:nvPr/>
        </p:nvSpPr>
        <p:spPr>
          <a:xfrm>
            <a:off x="10668881" y="4996742"/>
            <a:ext cx="734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/>
              <a:t>Gratis</a:t>
            </a:r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A662953-1AA4-43BE-BD7A-ECDBB97FE6C3}"/>
              </a:ext>
            </a:extLst>
          </p:cNvPr>
          <p:cNvSpPr txBox="1"/>
          <p:nvPr/>
        </p:nvSpPr>
        <p:spPr>
          <a:xfrm>
            <a:off x="9391772" y="5407269"/>
            <a:ext cx="73129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100" dirty="0"/>
              <a:t>Marksten</a:t>
            </a:r>
            <a:endParaRPr lang="en-US" sz="11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3068660-0336-4EA9-9899-7A85B5D461EA}"/>
              </a:ext>
            </a:extLst>
          </p:cNvPr>
          <p:cNvSpPr txBox="1"/>
          <p:nvPr/>
        </p:nvSpPr>
        <p:spPr>
          <a:xfrm>
            <a:off x="9585092" y="6188325"/>
            <a:ext cx="20127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b="1" dirty="0"/>
              <a:t>Budget DKK 24.500</a:t>
            </a:r>
            <a:endParaRPr lang="en-US" b="1" dirty="0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9239E543-E110-4076-8151-1C78A9FB589B}"/>
              </a:ext>
            </a:extLst>
          </p:cNvPr>
          <p:cNvSpPr/>
          <p:nvPr/>
        </p:nvSpPr>
        <p:spPr>
          <a:xfrm>
            <a:off x="8923345" y="3984783"/>
            <a:ext cx="1668145" cy="59274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Rendegraver og pladevibrator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1471F4C-44CA-4B26-92DB-24925538367D}"/>
              </a:ext>
            </a:extLst>
          </p:cNvPr>
          <p:cNvSpPr txBox="1"/>
          <p:nvPr/>
        </p:nvSpPr>
        <p:spPr>
          <a:xfrm>
            <a:off x="10668881" y="4093742"/>
            <a:ext cx="1146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/>
              <a:t>DKK 3,000</a:t>
            </a:r>
            <a:endParaRPr lang="en-US" dirty="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148C05E-9867-40F5-AC69-CF7DDCB126FC}"/>
              </a:ext>
            </a:extLst>
          </p:cNvPr>
          <p:cNvSpPr>
            <a:spLocks noChangeAspect="1"/>
          </p:cNvSpPr>
          <p:nvPr/>
        </p:nvSpPr>
        <p:spPr>
          <a:xfrm>
            <a:off x="5254061" y="4229757"/>
            <a:ext cx="433227" cy="433227"/>
          </a:xfrm>
          <a:prstGeom prst="ellipse">
            <a:avLst/>
          </a:prstGeom>
          <a:solidFill>
            <a:schemeClr val="bg2">
              <a:lumMod val="75000"/>
            </a:schemeClr>
          </a:solidFill>
          <a:ln w="133350" cap="rnd"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713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5rmbYfNSMEPMBwDBK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</TotalTime>
  <Words>26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mon Laegdsgaard Skanderup</dc:creator>
  <cp:lastModifiedBy>Simon Laegdsgaard Skanderup</cp:lastModifiedBy>
  <cp:revision>13</cp:revision>
  <dcterms:created xsi:type="dcterms:W3CDTF">2020-04-20T08:41:50Z</dcterms:created>
  <dcterms:modified xsi:type="dcterms:W3CDTF">2020-09-11T08:46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55b24b8-e69b-4583-bfd0-d64b5cee0119_Enabled">
    <vt:lpwstr>true</vt:lpwstr>
  </property>
  <property fmtid="{D5CDD505-2E9C-101B-9397-08002B2CF9AE}" pid="3" name="MSIP_Label_455b24b8-e69b-4583-bfd0-d64b5cee0119_SetDate">
    <vt:lpwstr>2020-09-11T08:46:57Z</vt:lpwstr>
  </property>
  <property fmtid="{D5CDD505-2E9C-101B-9397-08002B2CF9AE}" pid="4" name="MSIP_Label_455b24b8-e69b-4583-bfd0-d64b5cee0119_Method">
    <vt:lpwstr>Privileged</vt:lpwstr>
  </property>
  <property fmtid="{D5CDD505-2E9C-101B-9397-08002B2CF9AE}" pid="5" name="MSIP_Label_455b24b8-e69b-4583-bfd0-d64b5cee0119_Name">
    <vt:lpwstr>Public</vt:lpwstr>
  </property>
  <property fmtid="{D5CDD505-2E9C-101B-9397-08002B2CF9AE}" pid="6" name="MSIP_Label_455b24b8-e69b-4583-bfd0-d64b5cee0119_SiteId">
    <vt:lpwstr>05d75c05-fa1a-42e7-9cf1-eb416c396f2d</vt:lpwstr>
  </property>
  <property fmtid="{D5CDD505-2E9C-101B-9397-08002B2CF9AE}" pid="7" name="MSIP_Label_455b24b8-e69b-4583-bfd0-d64b5cee0119_ActionId">
    <vt:lpwstr>0f45796a-2962-4f48-ad4a-7f0070accbdd</vt:lpwstr>
  </property>
  <property fmtid="{D5CDD505-2E9C-101B-9397-08002B2CF9AE}" pid="8" name="MSIP_Label_455b24b8-e69b-4583-bfd0-d64b5cee0119_ContentBits">
    <vt:lpwstr>2</vt:lpwstr>
  </property>
</Properties>
</file>